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45" r:id="rId4"/>
  </p:sldMasterIdLst>
  <p:notesMasterIdLst>
    <p:notesMasterId r:id="rId32"/>
  </p:notesMasterIdLst>
  <p:handoutMasterIdLst>
    <p:handoutMasterId r:id="rId33"/>
  </p:handoutMasterIdLst>
  <p:sldIdLst>
    <p:sldId id="656" r:id="rId5"/>
    <p:sldId id="536" r:id="rId6"/>
    <p:sldId id="661" r:id="rId7"/>
    <p:sldId id="641" r:id="rId8"/>
    <p:sldId id="662" r:id="rId9"/>
    <p:sldId id="663" r:id="rId10"/>
    <p:sldId id="664" r:id="rId11"/>
    <p:sldId id="543" r:id="rId12"/>
    <p:sldId id="642" r:id="rId13"/>
    <p:sldId id="665" r:id="rId14"/>
    <p:sldId id="666" r:id="rId15"/>
    <p:sldId id="643" r:id="rId16"/>
    <p:sldId id="540" r:id="rId17"/>
    <p:sldId id="667" r:id="rId18"/>
    <p:sldId id="668" r:id="rId19"/>
    <p:sldId id="669" r:id="rId20"/>
    <p:sldId id="670" r:id="rId21"/>
    <p:sldId id="671" r:id="rId22"/>
    <p:sldId id="672" r:id="rId23"/>
    <p:sldId id="673" r:id="rId24"/>
    <p:sldId id="674" r:id="rId25"/>
    <p:sldId id="675" r:id="rId26"/>
    <p:sldId id="676" r:id="rId27"/>
    <p:sldId id="677" r:id="rId28"/>
    <p:sldId id="679" r:id="rId29"/>
    <p:sldId id="678" r:id="rId30"/>
    <p:sldId id="580" r:id="rId31"/>
  </p:sldIdLst>
  <p:sldSz cx="9144000" cy="5143500" type="screen16x9"/>
  <p:notesSz cx="9144000" cy="6858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Covers" id="{179A2B8B-AFF4-D949-8E55-B0E68BB0BC37}">
          <p14:sldIdLst>
            <p14:sldId id="656"/>
          </p14:sldIdLst>
        </p14:section>
        <p14:section name="Agendas" id="{1A53C8EC-0371-FB4D-9B0E-AF3EADE6A177}">
          <p14:sldIdLst/>
        </p14:section>
        <p14:section name="Basic Content" id="{A9B84C34-D5FC-764F-AF3F-8B0E85F32BA0}">
          <p14:sldIdLst>
            <p14:sldId id="536"/>
            <p14:sldId id="661"/>
            <p14:sldId id="641"/>
            <p14:sldId id="662"/>
            <p14:sldId id="663"/>
            <p14:sldId id="664"/>
            <p14:sldId id="543"/>
            <p14:sldId id="642"/>
            <p14:sldId id="665"/>
            <p14:sldId id="666"/>
            <p14:sldId id="643"/>
            <p14:sldId id="540"/>
            <p14:sldId id="667"/>
            <p14:sldId id="668"/>
            <p14:sldId id="669"/>
            <p14:sldId id="670"/>
            <p14:sldId id="671"/>
            <p14:sldId id="672"/>
            <p14:sldId id="673"/>
            <p14:sldId id="674"/>
            <p14:sldId id="675"/>
            <p14:sldId id="676"/>
            <p14:sldId id="677"/>
            <p14:sldId id="679"/>
            <p14:sldId id="678"/>
            <p14:sldId id="580"/>
          </p14:sldIdLst>
        </p14:section>
        <p14:section name="Dividers" id="{D306176B-42CE-FB4B-B5E6-091CCA5DB7C7}">
          <p14:sldIdLst/>
        </p14:section>
        <p14:section name="Quotes" id="{BBCEE00B-D2B8-7047-A560-9C430AE21C5A}">
          <p14:sldIdLst/>
        </p14:section>
        <p14:section name="End" id="{8B4859A4-3ECB-EB43-BF00-DCA1F034FAE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28" userDrawn="1">
          <p15:clr>
            <a:srgbClr val="A4A3A4"/>
          </p15:clr>
        </p15:guide>
        <p15:guide id="2" pos="3480" userDrawn="1">
          <p15:clr>
            <a:srgbClr val="A4A3A4"/>
          </p15:clr>
        </p15:guide>
        <p15:guide id="4" pos="2160" userDrawn="1">
          <p15:clr>
            <a:srgbClr val="A4A3A4"/>
          </p15:clr>
        </p15:guide>
        <p15:guide id="5" pos="840" userDrawn="1">
          <p15:clr>
            <a:srgbClr val="A4A3A4"/>
          </p15:clr>
        </p15:guide>
        <p15:guide id="6" pos="47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drey merritt" initials="am [19]" lastIdx="1" clrIdx="0"/>
  <p:cmAuthor id="2" name="Jennifer Walker" initials="JW [5]" lastIdx="1" clrIdx="1"/>
  <p:cmAuthor id="3" name="audrey merritt" initials="am [2]" lastIdx="1" clrIdx="2"/>
  <p:cmAuthor id="4" name="audrey merritt" initials="am [4]" lastIdx="1" clrIdx="3"/>
  <p:cmAuthor id="5" name="audrey merritt" initials="am [3]" lastIdx="1" clrIdx="4"/>
  <p:cmAuthor id="6" name="Microsoft Office User" initials="Office" lastIdx="1" clrIdx="5"/>
  <p:cmAuthor id="7" name="Microsoft Office User" initials="Office [2]" lastIdx="1" clrIdx="6"/>
  <p:cmAuthor id="8" name="Microsoft Office User" initials="Office [3]" lastIdx="1" clrIdx="7"/>
  <p:cmAuthor id="9" name="audrey merritt" initials="am" lastIdx="1" clrIdx="8"/>
  <p:cmAuthor id="10" name="audrey merritt" initials="am [5]" lastIdx="1" clrIdx="9"/>
  <p:cmAuthor id="11" name="audrey merritt" initials="am [6]" lastIdx="1" clrIdx="10"/>
  <p:cmAuthor id="12" name="audrey merritt" initials="am [7]" lastIdx="1" clrIdx="11"/>
  <p:cmAuthor id="13" name="audrey merritt" initials="am [8]" lastIdx="1" clrIdx="12"/>
  <p:cmAuthor id="14" name="audrey merritt" initials="am [9]" lastIdx="1" clrIdx="13"/>
  <p:cmAuthor id="15" name="audrey merritt" initials="am [10]" lastIdx="1" clrIdx="14"/>
  <p:cmAuthor id="16" name="audrey merritt" initials="am [11]" lastIdx="1" clrIdx="15"/>
  <p:cmAuthor id="17" name="audrey merritt" initials="am [12]" lastIdx="1" clrIdx="16"/>
  <p:cmAuthor id="18" name="audrey merritt" initials="am [13]" lastIdx="1" clrIdx="17"/>
  <p:cmAuthor id="19" name="audrey merritt" initials="am [14]" lastIdx="1" clrIdx="18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61928"/>
    <a:srgbClr val="09233B"/>
    <a:srgbClr val="009844"/>
    <a:srgbClr val="B6D330"/>
    <a:srgbClr val="CA2345"/>
    <a:srgbClr val="000000"/>
    <a:srgbClr val="4ABDE5"/>
    <a:srgbClr val="8E99BA"/>
    <a:srgbClr val="96A6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29E21F-357B-104F-910D-6711DCB1DAB6}" v="10" dt="2023-02-27T19:56:54.6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316" autoAdjust="0"/>
    <p:restoredTop sz="70026" autoAdjust="0"/>
  </p:normalViewPr>
  <p:slideViewPr>
    <p:cSldViewPr snapToGrid="0" snapToObjects="1">
      <p:cViewPr varScale="1">
        <p:scale>
          <a:sx n="124" d="100"/>
          <a:sy n="124" d="100"/>
        </p:scale>
        <p:origin x="2128" y="176"/>
      </p:cViewPr>
      <p:guideLst>
        <p:guide orient="horz" pos="228"/>
        <p:guide pos="3480"/>
        <p:guide pos="2160"/>
        <p:guide pos="840"/>
        <p:guide pos="477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528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192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793650793650799E-2"/>
          <c:y val="0"/>
          <c:w val="0.94841269841269804"/>
          <c:h val="0.939632858392701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714-EE48-ABD8-69D8B543D06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714-EE48-ABD8-69D8B543D06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714-EE48-ABD8-69D8B543D06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714-EE48-ABD8-69D8B543D064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714-EE48-ABD8-69D8B543D064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714-EE48-ABD8-69D8B543D064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714-EE48-ABD8-69D8B543D064}"/>
              </c:ext>
            </c:extLst>
          </c:dPt>
          <c:cat>
            <c:strRef>
              <c:f>Sheet1!$A$2:$A$8</c:f>
              <c:strCache>
                <c:ptCount val="7"/>
                <c:pt idx="0">
                  <c:v>Q1 2021</c:v>
                </c:pt>
                <c:pt idx="1">
                  <c:v>Q2 2021</c:v>
                </c:pt>
                <c:pt idx="2">
                  <c:v>Q3 2021</c:v>
                </c:pt>
                <c:pt idx="3">
                  <c:v>Q4 2021</c:v>
                </c:pt>
                <c:pt idx="4">
                  <c:v>Q1 2022</c:v>
                </c:pt>
                <c:pt idx="5">
                  <c:v>Q2 2022</c:v>
                </c:pt>
                <c:pt idx="6">
                  <c:v>Q3 2022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4445</c:v>
                </c:pt>
                <c:pt idx="1">
                  <c:v>4337</c:v>
                </c:pt>
                <c:pt idx="2">
                  <c:v>5458</c:v>
                </c:pt>
                <c:pt idx="3">
                  <c:v>5773</c:v>
                </c:pt>
                <c:pt idx="4">
                  <c:v>7006</c:v>
                </c:pt>
                <c:pt idx="5">
                  <c:v>8319</c:v>
                </c:pt>
                <c:pt idx="6">
                  <c:v>82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714-EE48-ABD8-69D8B543D0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-648300048"/>
        <c:axId val="-693262848"/>
      </c:barChart>
      <c:catAx>
        <c:axId val="-648300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pPr>
            <a:endParaRPr lang="en-SE"/>
          </a:p>
        </c:txPr>
        <c:crossAx val="-693262848"/>
        <c:crosses val="autoZero"/>
        <c:auto val="1"/>
        <c:lblAlgn val="ctr"/>
        <c:lblOffset val="100"/>
        <c:noMultiLvlLbl val="0"/>
      </c:catAx>
      <c:valAx>
        <c:axId val="-693262848"/>
        <c:scaling>
          <c:orientation val="minMax"/>
          <c:max val="900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SE"/>
          </a:p>
        </c:txPr>
        <c:crossAx val="-648300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S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CD2DD8-6AC6-6D4D-95E6-B6BD2FAF2718}" type="doc">
      <dgm:prSet loTypeId="urn:microsoft.com/office/officeart/2005/8/layout/pyramid1" loCatId="" qsTypeId="urn:microsoft.com/office/officeart/2005/8/quickstyle/simple1" qsCatId="simple" csTypeId="urn:microsoft.com/office/officeart/2005/8/colors/accent1_2" csCatId="accent1" phldr="1"/>
      <dgm:spPr/>
    </dgm:pt>
    <dgm:pt modelId="{BBFEBA67-3941-9642-905C-A6AA3CC27976}">
      <dgm:prSet phldrT="[Text]"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r>
            <a:rPr lang="en-GB" dirty="0"/>
            <a:t>Login</a:t>
          </a:r>
        </a:p>
      </dgm:t>
    </dgm:pt>
    <dgm:pt modelId="{A2208053-7D25-784D-B999-6C9519300460}" type="parTrans" cxnId="{F2312BFA-2764-2A42-8CB6-40CB78265A9A}">
      <dgm:prSet/>
      <dgm:spPr/>
      <dgm:t>
        <a:bodyPr/>
        <a:lstStyle/>
        <a:p>
          <a:endParaRPr lang="en-GB"/>
        </a:p>
      </dgm:t>
    </dgm:pt>
    <dgm:pt modelId="{97AF4789-5725-7E4F-A365-957D9196F0D1}" type="sibTrans" cxnId="{F2312BFA-2764-2A42-8CB6-40CB78265A9A}">
      <dgm:prSet/>
      <dgm:spPr/>
      <dgm:t>
        <a:bodyPr/>
        <a:lstStyle/>
        <a:p>
          <a:endParaRPr lang="en-GB"/>
        </a:p>
      </dgm:t>
    </dgm:pt>
    <dgm:pt modelId="{9C76F63F-B54D-7145-8171-25369F37C9A3}">
      <dgm:prSet phldrT="[Text]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GB" dirty="0"/>
            <a:t>Setup tenant</a:t>
          </a:r>
        </a:p>
      </dgm:t>
    </dgm:pt>
    <dgm:pt modelId="{5E36A49B-ECD2-F84C-9EF6-DEA8916C881B}" type="parTrans" cxnId="{3A333ADC-6C63-0B40-ABEA-345CDE7DA4D9}">
      <dgm:prSet/>
      <dgm:spPr/>
      <dgm:t>
        <a:bodyPr/>
        <a:lstStyle/>
        <a:p>
          <a:endParaRPr lang="en-GB"/>
        </a:p>
      </dgm:t>
    </dgm:pt>
    <dgm:pt modelId="{A650AA56-BEBC-C044-BFF9-C1E482D38793}" type="sibTrans" cxnId="{3A333ADC-6C63-0B40-ABEA-345CDE7DA4D9}">
      <dgm:prSet/>
      <dgm:spPr/>
      <dgm:t>
        <a:bodyPr/>
        <a:lstStyle/>
        <a:p>
          <a:endParaRPr lang="en-GB"/>
        </a:p>
      </dgm:t>
    </dgm:pt>
    <dgm:pt modelId="{B5AC6DF8-4CAD-B945-AC93-4BE464A71F65}">
      <dgm:prSet phldrT="[Text]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dirty="0"/>
            <a:t>Confirm email</a:t>
          </a:r>
        </a:p>
      </dgm:t>
    </dgm:pt>
    <dgm:pt modelId="{036D8C02-11F3-4D49-A52B-0A929FEB195D}" type="parTrans" cxnId="{36733370-6CC6-244F-96A1-E0CE7A23AA8C}">
      <dgm:prSet/>
      <dgm:spPr/>
      <dgm:t>
        <a:bodyPr/>
        <a:lstStyle/>
        <a:p>
          <a:endParaRPr lang="en-GB"/>
        </a:p>
      </dgm:t>
    </dgm:pt>
    <dgm:pt modelId="{9BF5FF80-CEE1-7844-AB16-BA6F6BBCD5EA}" type="sibTrans" cxnId="{36733370-6CC6-244F-96A1-E0CE7A23AA8C}">
      <dgm:prSet/>
      <dgm:spPr/>
      <dgm:t>
        <a:bodyPr/>
        <a:lstStyle/>
        <a:p>
          <a:endParaRPr lang="en-GB"/>
        </a:p>
      </dgm:t>
    </dgm:pt>
    <dgm:pt modelId="{7D01C79D-019D-9946-B7AE-D23F0406F133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GB" dirty="0"/>
            <a:t>Input info</a:t>
          </a:r>
        </a:p>
      </dgm:t>
    </dgm:pt>
    <dgm:pt modelId="{DDC20431-1FC9-A249-B291-91AAE4BB378C}" type="parTrans" cxnId="{75A41A19-55EC-0740-AD67-BB2A1EC8900F}">
      <dgm:prSet/>
      <dgm:spPr/>
      <dgm:t>
        <a:bodyPr/>
        <a:lstStyle/>
        <a:p>
          <a:endParaRPr lang="en-GB"/>
        </a:p>
      </dgm:t>
    </dgm:pt>
    <dgm:pt modelId="{06840828-B0B9-DC40-920C-9407CCC003F9}" type="sibTrans" cxnId="{75A41A19-55EC-0740-AD67-BB2A1EC8900F}">
      <dgm:prSet/>
      <dgm:spPr/>
      <dgm:t>
        <a:bodyPr/>
        <a:lstStyle/>
        <a:p>
          <a:endParaRPr lang="en-GB"/>
        </a:p>
      </dgm:t>
    </dgm:pt>
    <dgm:pt modelId="{603A59A5-BEB2-FC49-8B9B-69E25FA38B7F}" type="pres">
      <dgm:prSet presAssocID="{09CD2DD8-6AC6-6D4D-95E6-B6BD2FAF2718}" presName="Name0" presStyleCnt="0">
        <dgm:presLayoutVars>
          <dgm:dir/>
          <dgm:animLvl val="lvl"/>
          <dgm:resizeHandles val="exact"/>
        </dgm:presLayoutVars>
      </dgm:prSet>
      <dgm:spPr/>
    </dgm:pt>
    <dgm:pt modelId="{7C5FDBF3-19DF-CE42-B995-9289CC4A2FA8}" type="pres">
      <dgm:prSet presAssocID="{BBFEBA67-3941-9642-905C-A6AA3CC27976}" presName="Name8" presStyleCnt="0"/>
      <dgm:spPr/>
    </dgm:pt>
    <dgm:pt modelId="{03AB2ADA-A9AA-EC46-AC7D-D9113265BA05}" type="pres">
      <dgm:prSet presAssocID="{BBFEBA67-3941-9642-905C-A6AA3CC27976}" presName="level" presStyleLbl="node1" presStyleIdx="0" presStyleCnt="4">
        <dgm:presLayoutVars>
          <dgm:chMax val="1"/>
          <dgm:bulletEnabled val="1"/>
        </dgm:presLayoutVars>
      </dgm:prSet>
      <dgm:spPr/>
    </dgm:pt>
    <dgm:pt modelId="{D382F1EA-0273-BA41-B8A8-E736BD16CDE1}" type="pres">
      <dgm:prSet presAssocID="{BBFEBA67-3941-9642-905C-A6AA3CC27976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F926E08-4284-2544-BAC9-0B1BA2B45055}" type="pres">
      <dgm:prSet presAssocID="{9C76F63F-B54D-7145-8171-25369F37C9A3}" presName="Name8" presStyleCnt="0"/>
      <dgm:spPr/>
    </dgm:pt>
    <dgm:pt modelId="{A813207C-BBFF-A44C-8204-B61A4CE161DE}" type="pres">
      <dgm:prSet presAssocID="{9C76F63F-B54D-7145-8171-25369F37C9A3}" presName="level" presStyleLbl="node1" presStyleIdx="1" presStyleCnt="4">
        <dgm:presLayoutVars>
          <dgm:chMax val="1"/>
          <dgm:bulletEnabled val="1"/>
        </dgm:presLayoutVars>
      </dgm:prSet>
      <dgm:spPr/>
    </dgm:pt>
    <dgm:pt modelId="{1EBEB0E8-359D-D44A-AF9E-B6BFA71A17B2}" type="pres">
      <dgm:prSet presAssocID="{9C76F63F-B54D-7145-8171-25369F37C9A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C8B2269-B23E-2545-89CE-D9B33987C25B}" type="pres">
      <dgm:prSet presAssocID="{B5AC6DF8-4CAD-B945-AC93-4BE464A71F65}" presName="Name8" presStyleCnt="0"/>
      <dgm:spPr/>
    </dgm:pt>
    <dgm:pt modelId="{23A501CA-0714-154E-8C43-E1844A5EA40E}" type="pres">
      <dgm:prSet presAssocID="{B5AC6DF8-4CAD-B945-AC93-4BE464A71F65}" presName="level" presStyleLbl="node1" presStyleIdx="2" presStyleCnt="4">
        <dgm:presLayoutVars>
          <dgm:chMax val="1"/>
          <dgm:bulletEnabled val="1"/>
        </dgm:presLayoutVars>
      </dgm:prSet>
      <dgm:spPr/>
    </dgm:pt>
    <dgm:pt modelId="{3C30DF7C-693C-E74D-89C2-CC5C083368F0}" type="pres">
      <dgm:prSet presAssocID="{B5AC6DF8-4CAD-B945-AC93-4BE464A71F6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9FA5DA6-3539-FB40-8184-A7321DE59BEC}" type="pres">
      <dgm:prSet presAssocID="{7D01C79D-019D-9946-B7AE-D23F0406F133}" presName="Name8" presStyleCnt="0"/>
      <dgm:spPr/>
    </dgm:pt>
    <dgm:pt modelId="{54B4C358-EE79-354D-B971-4B2ADB49EB44}" type="pres">
      <dgm:prSet presAssocID="{7D01C79D-019D-9946-B7AE-D23F0406F133}" presName="level" presStyleLbl="node1" presStyleIdx="3" presStyleCnt="4">
        <dgm:presLayoutVars>
          <dgm:chMax val="1"/>
          <dgm:bulletEnabled val="1"/>
        </dgm:presLayoutVars>
      </dgm:prSet>
      <dgm:spPr/>
    </dgm:pt>
    <dgm:pt modelId="{766798DF-0BCD-E54A-9544-E9176F43FC46}" type="pres">
      <dgm:prSet presAssocID="{7D01C79D-019D-9946-B7AE-D23F0406F133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B1006906-15AE-AC4D-A280-3DF76E5B789A}" type="presOf" srcId="{7D01C79D-019D-9946-B7AE-D23F0406F133}" destId="{54B4C358-EE79-354D-B971-4B2ADB49EB44}" srcOrd="0" destOrd="0" presId="urn:microsoft.com/office/officeart/2005/8/layout/pyramid1"/>
    <dgm:cxn modelId="{75A41A19-55EC-0740-AD67-BB2A1EC8900F}" srcId="{09CD2DD8-6AC6-6D4D-95E6-B6BD2FAF2718}" destId="{7D01C79D-019D-9946-B7AE-D23F0406F133}" srcOrd="3" destOrd="0" parTransId="{DDC20431-1FC9-A249-B291-91AAE4BB378C}" sibTransId="{06840828-B0B9-DC40-920C-9407CCC003F9}"/>
    <dgm:cxn modelId="{BE98F721-977A-B549-B121-A852091E583C}" type="presOf" srcId="{09CD2DD8-6AC6-6D4D-95E6-B6BD2FAF2718}" destId="{603A59A5-BEB2-FC49-8B9B-69E25FA38B7F}" srcOrd="0" destOrd="0" presId="urn:microsoft.com/office/officeart/2005/8/layout/pyramid1"/>
    <dgm:cxn modelId="{F5AF1A33-E60E-B64D-9C71-408B7B42C47B}" type="presOf" srcId="{B5AC6DF8-4CAD-B945-AC93-4BE464A71F65}" destId="{3C30DF7C-693C-E74D-89C2-CC5C083368F0}" srcOrd="1" destOrd="0" presId="urn:microsoft.com/office/officeart/2005/8/layout/pyramid1"/>
    <dgm:cxn modelId="{10ED5C57-B092-AB4A-8803-8E6630321195}" type="presOf" srcId="{B5AC6DF8-4CAD-B945-AC93-4BE464A71F65}" destId="{23A501CA-0714-154E-8C43-E1844A5EA40E}" srcOrd="0" destOrd="0" presId="urn:microsoft.com/office/officeart/2005/8/layout/pyramid1"/>
    <dgm:cxn modelId="{79A77462-DAA1-074C-B0D2-15494E189215}" type="presOf" srcId="{BBFEBA67-3941-9642-905C-A6AA3CC27976}" destId="{03AB2ADA-A9AA-EC46-AC7D-D9113265BA05}" srcOrd="0" destOrd="0" presId="urn:microsoft.com/office/officeart/2005/8/layout/pyramid1"/>
    <dgm:cxn modelId="{36733370-6CC6-244F-96A1-E0CE7A23AA8C}" srcId="{09CD2DD8-6AC6-6D4D-95E6-B6BD2FAF2718}" destId="{B5AC6DF8-4CAD-B945-AC93-4BE464A71F65}" srcOrd="2" destOrd="0" parTransId="{036D8C02-11F3-4D49-A52B-0A929FEB195D}" sibTransId="{9BF5FF80-CEE1-7844-AB16-BA6F6BBCD5EA}"/>
    <dgm:cxn modelId="{59DA3D8B-0AFF-2049-9D9C-F8398C0DA5EB}" type="presOf" srcId="{BBFEBA67-3941-9642-905C-A6AA3CC27976}" destId="{D382F1EA-0273-BA41-B8A8-E736BD16CDE1}" srcOrd="1" destOrd="0" presId="urn:microsoft.com/office/officeart/2005/8/layout/pyramid1"/>
    <dgm:cxn modelId="{5C931096-179E-A442-8BF2-1981A137F553}" type="presOf" srcId="{9C76F63F-B54D-7145-8171-25369F37C9A3}" destId="{1EBEB0E8-359D-D44A-AF9E-B6BFA71A17B2}" srcOrd="1" destOrd="0" presId="urn:microsoft.com/office/officeart/2005/8/layout/pyramid1"/>
    <dgm:cxn modelId="{41435A9D-D13F-4546-BE53-8873894A7665}" type="presOf" srcId="{7D01C79D-019D-9946-B7AE-D23F0406F133}" destId="{766798DF-0BCD-E54A-9544-E9176F43FC46}" srcOrd="1" destOrd="0" presId="urn:microsoft.com/office/officeart/2005/8/layout/pyramid1"/>
    <dgm:cxn modelId="{42657BA5-CC7D-614D-81D4-FC7548BADF35}" type="presOf" srcId="{9C76F63F-B54D-7145-8171-25369F37C9A3}" destId="{A813207C-BBFF-A44C-8204-B61A4CE161DE}" srcOrd="0" destOrd="0" presId="urn:microsoft.com/office/officeart/2005/8/layout/pyramid1"/>
    <dgm:cxn modelId="{3A333ADC-6C63-0B40-ABEA-345CDE7DA4D9}" srcId="{09CD2DD8-6AC6-6D4D-95E6-B6BD2FAF2718}" destId="{9C76F63F-B54D-7145-8171-25369F37C9A3}" srcOrd="1" destOrd="0" parTransId="{5E36A49B-ECD2-F84C-9EF6-DEA8916C881B}" sibTransId="{A650AA56-BEBC-C044-BFF9-C1E482D38793}"/>
    <dgm:cxn modelId="{F2312BFA-2764-2A42-8CB6-40CB78265A9A}" srcId="{09CD2DD8-6AC6-6D4D-95E6-B6BD2FAF2718}" destId="{BBFEBA67-3941-9642-905C-A6AA3CC27976}" srcOrd="0" destOrd="0" parTransId="{A2208053-7D25-784D-B999-6C9519300460}" sibTransId="{97AF4789-5725-7E4F-A365-957D9196F0D1}"/>
    <dgm:cxn modelId="{1A3B9115-0513-7144-9912-CEC6569FE1F9}" type="presParOf" srcId="{603A59A5-BEB2-FC49-8B9B-69E25FA38B7F}" destId="{7C5FDBF3-19DF-CE42-B995-9289CC4A2FA8}" srcOrd="0" destOrd="0" presId="urn:microsoft.com/office/officeart/2005/8/layout/pyramid1"/>
    <dgm:cxn modelId="{3C9D0870-7024-D04D-BEBB-54B756542079}" type="presParOf" srcId="{7C5FDBF3-19DF-CE42-B995-9289CC4A2FA8}" destId="{03AB2ADA-A9AA-EC46-AC7D-D9113265BA05}" srcOrd="0" destOrd="0" presId="urn:microsoft.com/office/officeart/2005/8/layout/pyramid1"/>
    <dgm:cxn modelId="{75082AD7-150E-AA40-943A-B47A57943836}" type="presParOf" srcId="{7C5FDBF3-19DF-CE42-B995-9289CC4A2FA8}" destId="{D382F1EA-0273-BA41-B8A8-E736BD16CDE1}" srcOrd="1" destOrd="0" presId="urn:microsoft.com/office/officeart/2005/8/layout/pyramid1"/>
    <dgm:cxn modelId="{CC3CBBC2-FF94-9D4A-83B7-D7070D3E8F44}" type="presParOf" srcId="{603A59A5-BEB2-FC49-8B9B-69E25FA38B7F}" destId="{AF926E08-4284-2544-BAC9-0B1BA2B45055}" srcOrd="1" destOrd="0" presId="urn:microsoft.com/office/officeart/2005/8/layout/pyramid1"/>
    <dgm:cxn modelId="{230291A6-7939-5141-9828-4AA1A982868B}" type="presParOf" srcId="{AF926E08-4284-2544-BAC9-0B1BA2B45055}" destId="{A813207C-BBFF-A44C-8204-B61A4CE161DE}" srcOrd="0" destOrd="0" presId="urn:microsoft.com/office/officeart/2005/8/layout/pyramid1"/>
    <dgm:cxn modelId="{89820AA1-FA6A-0F4E-B8D7-7B02CF829593}" type="presParOf" srcId="{AF926E08-4284-2544-BAC9-0B1BA2B45055}" destId="{1EBEB0E8-359D-D44A-AF9E-B6BFA71A17B2}" srcOrd="1" destOrd="0" presId="urn:microsoft.com/office/officeart/2005/8/layout/pyramid1"/>
    <dgm:cxn modelId="{C6F56CA4-EA4B-074F-8E5B-E309A23F07AE}" type="presParOf" srcId="{603A59A5-BEB2-FC49-8B9B-69E25FA38B7F}" destId="{DC8B2269-B23E-2545-89CE-D9B33987C25B}" srcOrd="2" destOrd="0" presId="urn:microsoft.com/office/officeart/2005/8/layout/pyramid1"/>
    <dgm:cxn modelId="{54996EAB-961A-FD4F-A527-35B4D0F1077D}" type="presParOf" srcId="{DC8B2269-B23E-2545-89CE-D9B33987C25B}" destId="{23A501CA-0714-154E-8C43-E1844A5EA40E}" srcOrd="0" destOrd="0" presId="urn:microsoft.com/office/officeart/2005/8/layout/pyramid1"/>
    <dgm:cxn modelId="{A1C37221-9FE7-AC4B-9849-0EABF847FF74}" type="presParOf" srcId="{DC8B2269-B23E-2545-89CE-D9B33987C25B}" destId="{3C30DF7C-693C-E74D-89C2-CC5C083368F0}" srcOrd="1" destOrd="0" presId="urn:microsoft.com/office/officeart/2005/8/layout/pyramid1"/>
    <dgm:cxn modelId="{F3DD0B43-13A8-364F-B00A-37EA7B3D4744}" type="presParOf" srcId="{603A59A5-BEB2-FC49-8B9B-69E25FA38B7F}" destId="{89FA5DA6-3539-FB40-8184-A7321DE59BEC}" srcOrd="3" destOrd="0" presId="urn:microsoft.com/office/officeart/2005/8/layout/pyramid1"/>
    <dgm:cxn modelId="{0CA9F9AE-39B2-9446-A81C-C2FF34A29937}" type="presParOf" srcId="{89FA5DA6-3539-FB40-8184-A7321DE59BEC}" destId="{54B4C358-EE79-354D-B971-4B2ADB49EB44}" srcOrd="0" destOrd="0" presId="urn:microsoft.com/office/officeart/2005/8/layout/pyramid1"/>
    <dgm:cxn modelId="{1718103F-5D0A-EF44-9C68-D4659C707B1A}" type="presParOf" srcId="{89FA5DA6-3539-FB40-8184-A7321DE59BEC}" destId="{766798DF-0BCD-E54A-9544-E9176F43FC46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AB2ADA-A9AA-EC46-AC7D-D9113265BA05}">
      <dsp:nvSpPr>
        <dsp:cNvPr id="0" name=""/>
        <dsp:cNvSpPr/>
      </dsp:nvSpPr>
      <dsp:spPr>
        <a:xfrm>
          <a:off x="1841046" y="0"/>
          <a:ext cx="1227364" cy="891323"/>
        </a:xfrm>
        <a:prstGeom prst="trapezoid">
          <a:avLst>
            <a:gd name="adj" fmla="val 68851"/>
          </a:avLst>
        </a:prstGeom>
        <a:solidFill>
          <a:schemeClr val="bg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000" kern="1200" dirty="0"/>
            <a:t>Login</a:t>
          </a:r>
        </a:p>
      </dsp:txBody>
      <dsp:txXfrm>
        <a:off x="1841046" y="0"/>
        <a:ext cx="1227364" cy="891323"/>
      </dsp:txXfrm>
    </dsp:sp>
    <dsp:sp modelId="{A813207C-BBFF-A44C-8204-B61A4CE161DE}">
      <dsp:nvSpPr>
        <dsp:cNvPr id="0" name=""/>
        <dsp:cNvSpPr/>
      </dsp:nvSpPr>
      <dsp:spPr>
        <a:xfrm>
          <a:off x="1227364" y="891323"/>
          <a:ext cx="2454728" cy="891323"/>
        </a:xfrm>
        <a:prstGeom prst="trapezoid">
          <a:avLst>
            <a:gd name="adj" fmla="val 68851"/>
          </a:avLst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000" kern="1200" dirty="0"/>
            <a:t>Setup tenant</a:t>
          </a:r>
        </a:p>
      </dsp:txBody>
      <dsp:txXfrm>
        <a:off x="1656941" y="891323"/>
        <a:ext cx="1595573" cy="891323"/>
      </dsp:txXfrm>
    </dsp:sp>
    <dsp:sp modelId="{23A501CA-0714-154E-8C43-E1844A5EA40E}">
      <dsp:nvSpPr>
        <dsp:cNvPr id="0" name=""/>
        <dsp:cNvSpPr/>
      </dsp:nvSpPr>
      <dsp:spPr>
        <a:xfrm>
          <a:off x="613682" y="1782647"/>
          <a:ext cx="3682092" cy="891323"/>
        </a:xfrm>
        <a:prstGeom prst="trapezoid">
          <a:avLst>
            <a:gd name="adj" fmla="val 68851"/>
          </a:avLst>
        </a:prstGeom>
        <a:solidFill>
          <a:schemeClr val="accent6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000" kern="1200" dirty="0"/>
            <a:t>Confirm email</a:t>
          </a:r>
        </a:p>
      </dsp:txBody>
      <dsp:txXfrm>
        <a:off x="1258048" y="1782647"/>
        <a:ext cx="2393360" cy="891323"/>
      </dsp:txXfrm>
    </dsp:sp>
    <dsp:sp modelId="{54B4C358-EE79-354D-B971-4B2ADB49EB44}">
      <dsp:nvSpPr>
        <dsp:cNvPr id="0" name=""/>
        <dsp:cNvSpPr/>
      </dsp:nvSpPr>
      <dsp:spPr>
        <a:xfrm>
          <a:off x="0" y="2673971"/>
          <a:ext cx="4909457" cy="891323"/>
        </a:xfrm>
        <a:prstGeom prst="trapezoid">
          <a:avLst>
            <a:gd name="adj" fmla="val 68851"/>
          </a:avLst>
        </a:prstGeom>
        <a:solidFill>
          <a:schemeClr val="tx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000" kern="1200" dirty="0"/>
            <a:t>Input info</a:t>
          </a:r>
        </a:p>
      </dsp:txBody>
      <dsp:txXfrm>
        <a:off x="859154" y="2673971"/>
        <a:ext cx="3191147" cy="8913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156F37A-5299-B146-820E-E905BFE8A4C7}" type="datetimeFigureOut">
              <a:rPr lang="en-US">
                <a:latin typeface="Arial" charset="0"/>
              </a:rPr>
              <a:pPr>
                <a:defRPr/>
              </a:pPr>
              <a:t>2/23/23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0CA24F0-D53C-F040-AF3D-D9BB0FB00B2F}" type="slidenum">
              <a:rPr lang="en-US">
                <a:latin typeface="Arial" charset="0"/>
              </a:rPr>
              <a:pPr>
                <a:defRPr/>
              </a:pPr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166167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 i="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i="0" smtClean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1DBAE35-58FC-F24B-846F-40C6D59E1492}" type="datetimeFigureOut">
              <a:rPr lang="en-US" smtClean="0"/>
              <a:pPr>
                <a:defRPr/>
              </a:pPr>
              <a:t>2/23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ext</a:t>
            </a:r>
            <a:r>
              <a:rPr lang="fr-FR" noProof="0" dirty="0"/>
              <a:t> styles</a:t>
            </a:r>
          </a:p>
          <a:p>
            <a:pPr lvl="1"/>
            <a:r>
              <a:rPr lang="fr-FR" noProof="0" dirty="0"/>
              <a:t>Second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2"/>
            <a:r>
              <a:rPr lang="fr-FR" noProof="0" dirty="0" err="1"/>
              <a:t>Third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3"/>
            <a:r>
              <a:rPr lang="fr-FR" noProof="0" dirty="0" err="1"/>
              <a:t>Four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4"/>
            <a:r>
              <a:rPr lang="fr-FR" noProof="0" dirty="0" err="1"/>
              <a:t>Fif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 i="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i="0" smtClean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87666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Arial" charset="0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Arial" charset="0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Arial" charset="0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Arial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0822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At least once comes at a cost</a:t>
            </a:r>
          </a:p>
          <a:p>
            <a:r>
              <a:rPr lang="en-GB" dirty="0"/>
              <a:t>C</a:t>
            </a:r>
            <a:r>
              <a:rPr lang="en-SE" dirty="0"/>
              <a:t>omplex to setup, complex to interact with</a:t>
            </a:r>
          </a:p>
          <a:p>
            <a:r>
              <a:rPr lang="en-GB" dirty="0"/>
              <a:t>E</a:t>
            </a:r>
            <a:r>
              <a:rPr lang="en-SE" dirty="0"/>
              <a:t>xamples:</a:t>
            </a:r>
          </a:p>
          <a:p>
            <a:pPr marL="228600" indent="-228600">
              <a:buAutoNum type="arabicPeriod"/>
            </a:pPr>
            <a:r>
              <a:rPr lang="en-GB" dirty="0"/>
              <a:t>P</a:t>
            </a:r>
            <a:r>
              <a:rPr lang="en-SE" dirty="0"/>
              <a:t>roblems with nats streaming</a:t>
            </a:r>
          </a:p>
          <a:p>
            <a:pPr marL="228600" indent="-228600">
              <a:buAutoNum type="arabicPeriod"/>
            </a:pPr>
            <a:r>
              <a:rPr lang="en-SE" dirty="0"/>
              <a:t>Messages not being ACK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4797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</a:t>
            </a:r>
            <a:r>
              <a:rPr lang="en-SE" dirty="0"/>
              <a:t>ost people think the choice is easy…</a:t>
            </a:r>
          </a:p>
          <a:p>
            <a:r>
              <a:rPr lang="en-SE" dirty="0"/>
              <a:t>What if you don’t get an ACK?</a:t>
            </a:r>
          </a:p>
          <a:p>
            <a:r>
              <a:rPr lang="en-SE" dirty="0"/>
              <a:t>What if you don’t send an ACK?</a:t>
            </a:r>
          </a:p>
          <a:p>
            <a:r>
              <a:rPr lang="en-SE" dirty="0"/>
              <a:t>Crashes?</a:t>
            </a:r>
          </a:p>
          <a:p>
            <a:r>
              <a:rPr lang="en-SE" dirty="0"/>
              <a:t>Data corruption?</a:t>
            </a:r>
          </a:p>
          <a:p>
            <a:r>
              <a:rPr lang="en-SE" dirty="0"/>
              <a:t>Bugs?</a:t>
            </a:r>
          </a:p>
          <a:p>
            <a:endParaRPr lang="en-SE" dirty="0"/>
          </a:p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0053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SE" dirty="0"/>
              <a:t>The answer is not “we use at least once”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SE" dirty="0"/>
              <a:t>Reconciliation example: LBE -&gt; QCS</a:t>
            </a:r>
          </a:p>
          <a:p>
            <a:r>
              <a:rPr lang="en-SE" dirty="0"/>
              <a:t>Need a way to trigger re-send if needed</a:t>
            </a:r>
          </a:p>
          <a:p>
            <a:r>
              <a:rPr lang="en-SE" dirty="0"/>
              <a:t>UI: resend text message</a:t>
            </a:r>
          </a:p>
          <a:p>
            <a:r>
              <a:rPr lang="en-SE" dirty="0"/>
              <a:t>Active monitoring: a component outside of “business flow” that with knowledge</a:t>
            </a:r>
          </a:p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2404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Reconciliation example</a:t>
            </a:r>
          </a:p>
          <a:p>
            <a:r>
              <a:rPr lang="en-SE" dirty="0"/>
              <a:t>Not “event-driven architecture”</a:t>
            </a:r>
          </a:p>
          <a:p>
            <a:r>
              <a:rPr lang="en-SE" dirty="0"/>
              <a:t>Event something we “should have”</a:t>
            </a:r>
          </a:p>
          <a:p>
            <a:r>
              <a:rPr lang="en-SE" dirty="0"/>
              <a:t>Main discussion point was which implementation and at least once vs at most once</a:t>
            </a:r>
          </a:p>
          <a:p>
            <a:r>
              <a:rPr lang="en-SE" dirty="0"/>
              <a:t>NATS / NATS stream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7438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SE" dirty="0"/>
              <a:t>It doesn’t mean all communication is done by events</a:t>
            </a:r>
          </a:p>
          <a:p>
            <a:r>
              <a:rPr lang="en-GB" dirty="0"/>
              <a:t>P</a:t>
            </a:r>
            <a:r>
              <a:rPr lang="en-SE" dirty="0"/>
              <a:t>ublish subscribe message pattern: </a:t>
            </a:r>
            <a:r>
              <a:rPr lang="en-GB" dirty="0"/>
              <a:t>M</a:t>
            </a:r>
            <a:r>
              <a:rPr lang="en-SE" dirty="0"/>
              <a:t>ultiple consumers indepent of each other and producers</a:t>
            </a:r>
          </a:p>
          <a:p>
            <a:r>
              <a:rPr lang="en-SE" dirty="0"/>
              <a:t>Horizontal scale is a goal</a:t>
            </a:r>
          </a:p>
          <a:p>
            <a:r>
              <a:rPr lang="en-SE" dirty="0"/>
              <a:t>State change: form completed and saved, temperature changed et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1951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Add as many different consumers as you want without changing the producer</a:t>
            </a:r>
          </a:p>
          <a:p>
            <a:r>
              <a:rPr lang="en-SE" dirty="0"/>
              <a:t>Value over time</a:t>
            </a:r>
          </a:p>
          <a:p>
            <a:r>
              <a:rPr lang="en-SE" dirty="0"/>
              <a:t>Technical de-coupling</a:t>
            </a:r>
          </a:p>
          <a:p>
            <a:r>
              <a:rPr lang="en-SE" dirty="0"/>
              <a:t>Can help scale the organiz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0029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Multiple instances of the same service subscribes messages</a:t>
            </a:r>
          </a:p>
          <a:p>
            <a:r>
              <a:rPr lang="en-SE" dirty="0"/>
              <a:t>“Forces” statelessness</a:t>
            </a:r>
          </a:p>
          <a:p>
            <a:r>
              <a:rPr lang="en-SE" dirty="0"/>
              <a:t>Redundancy</a:t>
            </a:r>
          </a:p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68560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What if message is a new state to be persisted by A and it fails?</a:t>
            </a:r>
          </a:p>
          <a:p>
            <a:r>
              <a:rPr lang="en-SE" dirty="0"/>
              <a:t>System inconsistency</a:t>
            </a:r>
          </a:p>
          <a:p>
            <a:r>
              <a:rPr lang="en-SE" dirty="0"/>
              <a:t>Compare to point-to-point message pattern</a:t>
            </a:r>
          </a:p>
          <a:p>
            <a:r>
              <a:rPr lang="en-SE" dirty="0"/>
              <a:t>Resending should fix issu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6136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Not mutually exclusive</a:t>
            </a:r>
          </a:p>
          <a:p>
            <a:r>
              <a:rPr lang="en-SE" dirty="0"/>
              <a:t>Data collection example: QCS system ev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2977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Monitor contains logic to understand that if M has arrived M’ should arrive as well and look in a specific way</a:t>
            </a:r>
          </a:p>
          <a:p>
            <a:r>
              <a:rPr lang="en-SE" dirty="0"/>
              <a:t>State that does not disrupt ope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8972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</a:t>
            </a:r>
            <a:r>
              <a:rPr lang="en-SE" dirty="0"/>
              <a:t>ata analysis (generic)</a:t>
            </a:r>
          </a:p>
          <a:p>
            <a:r>
              <a:rPr lang="en-GB" dirty="0"/>
              <a:t>Used by “</a:t>
            </a:r>
            <a:r>
              <a:rPr lang="en-GB" dirty="0" err="1"/>
              <a:t>kommun</a:t>
            </a:r>
            <a:r>
              <a:rPr lang="en-GB" dirty="0"/>
              <a:t>” and “</a:t>
            </a:r>
            <a:r>
              <a:rPr lang="en-GB" dirty="0" err="1"/>
              <a:t>landsting</a:t>
            </a:r>
            <a:r>
              <a:rPr lang="en-GB" dirty="0"/>
              <a:t>” for example</a:t>
            </a:r>
            <a:endParaRPr lang="en-SE" dirty="0"/>
          </a:p>
          <a:p>
            <a:r>
              <a:rPr lang="en-SE" dirty="0"/>
              <a:t>Systembolaget example</a:t>
            </a:r>
          </a:p>
          <a:p>
            <a:r>
              <a:rPr lang="en-SE" dirty="0"/>
              <a:t>Done the journey from on-prem to cloud over several attempts</a:t>
            </a:r>
          </a:p>
          <a:p>
            <a:endParaRPr lang="en-SE" dirty="0"/>
          </a:p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4916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Example: qlik trial registration</a:t>
            </a:r>
          </a:p>
          <a:p>
            <a:r>
              <a:rPr lang="en-SE" dirty="0"/>
              <a:t>Follow the users journey</a:t>
            </a:r>
          </a:p>
          <a:p>
            <a:r>
              <a:rPr lang="en-SE" dirty="0"/>
              <a:t>Which steps takes the longest?</a:t>
            </a:r>
          </a:p>
          <a:p>
            <a:r>
              <a:rPr lang="en-SE" dirty="0"/>
              <a:t>Where do most users give up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0113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Do you require consistency?</a:t>
            </a:r>
          </a:p>
          <a:p>
            <a:r>
              <a:rPr lang="en-SE" dirty="0"/>
              <a:t>Events are often size limited</a:t>
            </a:r>
          </a:p>
          <a:p>
            <a:r>
              <a:rPr lang="en-SE" dirty="0"/>
              <a:t>What kind of state change happened?</a:t>
            </a:r>
          </a:p>
          <a:p>
            <a:r>
              <a:rPr lang="en-GB" dirty="0"/>
              <a:t>L</a:t>
            </a:r>
            <a:r>
              <a:rPr lang="en-SE" dirty="0"/>
              <a:t>ogin only id not entire user object?</a:t>
            </a:r>
          </a:p>
          <a:p>
            <a:r>
              <a:rPr lang="en-SE" dirty="0"/>
              <a:t>Example: ID to expire cache</a:t>
            </a:r>
          </a:p>
          <a:p>
            <a:r>
              <a:rPr lang="en-SE" dirty="0"/>
              <a:t>Example: group modified</a:t>
            </a:r>
          </a:p>
          <a:p>
            <a:r>
              <a:rPr lang="en-SE" dirty="0"/>
              <a:t>Meta data like user id or tenant id</a:t>
            </a:r>
          </a:p>
          <a:p>
            <a:r>
              <a:rPr lang="en-SE" dirty="0"/>
              <a:t>Consistent format -&gt; common libraries</a:t>
            </a:r>
          </a:p>
          <a:p>
            <a:r>
              <a:rPr lang="en-SE" dirty="0"/>
              <a:t>Can change over time (beware of beaking change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1231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vent m</a:t>
            </a:r>
            <a:r>
              <a:rPr lang="en-SE" dirty="0"/>
              <a:t>eta data</a:t>
            </a:r>
          </a:p>
          <a:p>
            <a:r>
              <a:rPr lang="en-SE" dirty="0"/>
              <a:t>Application specific meta data (extensions)</a:t>
            </a:r>
          </a:p>
          <a:p>
            <a:r>
              <a:rPr lang="en-SE" dirty="0"/>
              <a:t>Data</a:t>
            </a:r>
          </a:p>
          <a:p>
            <a:r>
              <a:rPr lang="en-GB" dirty="0"/>
              <a:t>Example: o</a:t>
            </a:r>
            <a:r>
              <a:rPr lang="en-SE" dirty="0"/>
              <a:t>nly ID, because we do not want consumers to have to understand the license form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72894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/>
              <a:t>Compare</a:t>
            </a:r>
            <a:r>
              <a:rPr lang="sv-SE" dirty="0"/>
              <a:t> </a:t>
            </a:r>
            <a:r>
              <a:rPr lang="sv-SE" dirty="0" err="1"/>
              <a:t>openAPI</a:t>
            </a:r>
            <a:endParaRPr lang="sv-SE" dirty="0"/>
          </a:p>
          <a:p>
            <a:r>
              <a:rPr lang="sv-SE" dirty="0" err="1"/>
              <a:t>Specification</a:t>
            </a:r>
            <a:r>
              <a:rPr lang="sv-SE" dirty="0"/>
              <a:t> for events</a:t>
            </a:r>
          </a:p>
          <a:p>
            <a:r>
              <a:rPr lang="sv-SE" dirty="0" err="1"/>
              <a:t>Tooling</a:t>
            </a:r>
            <a:r>
              <a:rPr lang="sv-SE" dirty="0"/>
              <a:t>: </a:t>
            </a:r>
            <a:r>
              <a:rPr lang="sv-SE" dirty="0" err="1"/>
              <a:t>code</a:t>
            </a:r>
            <a:r>
              <a:rPr lang="sv-SE" dirty="0"/>
              <a:t> generation</a:t>
            </a:r>
          </a:p>
          <a:p>
            <a:r>
              <a:rPr lang="sv-SE" dirty="0" err="1"/>
              <a:t>Documentation</a:t>
            </a:r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99192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nk about 1 for each event</a:t>
            </a:r>
          </a:p>
          <a:p>
            <a:r>
              <a:rPr lang="en-GB" dirty="0"/>
              <a:t>You can always add more events later</a:t>
            </a:r>
          </a:p>
          <a:p>
            <a:r>
              <a:rPr lang="en-GB" dirty="0"/>
              <a:t>Standard smart things: don’t add things you don’t know if you need</a:t>
            </a:r>
          </a:p>
          <a:p>
            <a:r>
              <a:rPr lang="en-GB" dirty="0"/>
              <a:t>Example QCS: our own platform, but still to big to know what events or APIs services depends on</a:t>
            </a:r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29592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57750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460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Lots of terminology</a:t>
            </a:r>
          </a:p>
          <a:p>
            <a:r>
              <a:rPr lang="en-GB" dirty="0"/>
              <a:t>U</a:t>
            </a:r>
            <a:r>
              <a:rPr lang="en-SE" dirty="0"/>
              <a:t>sed ambigously</a:t>
            </a:r>
          </a:p>
          <a:p>
            <a:r>
              <a:rPr lang="en-SE" dirty="0"/>
              <a:t>Middleware adds place for functionality (queue / buffer, transformer, router, load balancing etc)</a:t>
            </a:r>
          </a:p>
          <a:p>
            <a:r>
              <a:rPr lang="en-SE" dirty="0"/>
              <a:t>Hardware, hosted, SaaS etc</a:t>
            </a:r>
          </a:p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93583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Producer does not care if message is processed by 0, 1 or X consumers</a:t>
            </a:r>
          </a:p>
          <a:p>
            <a:r>
              <a:rPr lang="en-SE" dirty="0"/>
              <a:t>“anyone” can subscribe regardless of producer</a:t>
            </a:r>
          </a:p>
          <a:p>
            <a:r>
              <a:rPr lang="en-GB" dirty="0"/>
              <a:t>S</a:t>
            </a:r>
            <a:r>
              <a:rPr lang="en-SE" dirty="0"/>
              <a:t>ubscriber is de-coupled from produc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4209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Message to specific consumer</a:t>
            </a:r>
          </a:p>
          <a:p>
            <a:r>
              <a:rPr lang="en-SE" dirty="0"/>
              <a:t>Consumer groups still just one recipient</a:t>
            </a:r>
          </a:p>
          <a:p>
            <a:r>
              <a:rPr lang="en-SE" dirty="0"/>
              <a:t>Like REST? </a:t>
            </a:r>
            <a:r>
              <a:rPr lang="en-GB" dirty="0"/>
              <a:t>B</a:t>
            </a:r>
            <a:r>
              <a:rPr lang="en-SE" dirty="0"/>
              <a:t>roker as middleware with added functiona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2366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“channels”</a:t>
            </a:r>
          </a:p>
          <a:p>
            <a:r>
              <a:rPr lang="en-SE" dirty="0"/>
              <a:t>hierarchy</a:t>
            </a:r>
          </a:p>
          <a:p>
            <a:r>
              <a:rPr lang="en-SE" dirty="0"/>
              <a:t>Regardless of producer</a:t>
            </a:r>
          </a:p>
          <a:p>
            <a:r>
              <a:rPr lang="en-SE" dirty="0"/>
              <a:t>A topic can contain different messages types</a:t>
            </a:r>
          </a:p>
          <a:p>
            <a:r>
              <a:rPr lang="en-SE" dirty="0"/>
              <a:t>(Subscribe to topics with wildcards: app/open, app/create, app/refresh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6298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</a:t>
            </a:r>
            <a:r>
              <a:rPr lang="en-SE" dirty="0"/>
              <a:t>ow are messages delivered from the producer to consumer(s)</a:t>
            </a:r>
          </a:p>
          <a:p>
            <a:r>
              <a:rPr lang="en-SE" dirty="0"/>
              <a:t>(Exactly onc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8684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Sends the message straight on to all consumers</a:t>
            </a:r>
          </a:p>
          <a:p>
            <a:r>
              <a:rPr lang="en-SE" dirty="0"/>
              <a:t>Not presisted – if noone is listening the message is discarded</a:t>
            </a:r>
          </a:p>
          <a:p>
            <a:r>
              <a:rPr lang="en-SE" dirty="0"/>
              <a:t>Not acknowledg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05676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E" dirty="0"/>
              <a:t>Messages cannot be lost once acknowledged by the broker</a:t>
            </a:r>
          </a:p>
          <a:p>
            <a:r>
              <a:rPr lang="en-SE" dirty="0"/>
              <a:t>Messages are retained until acknowledged by a consum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037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3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4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1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1 (pie 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4A7A30F9-B6FC-8725-7A62-8DE272F89C0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B91A13D-1FF3-CAA8-6D60-C2F7C3467D93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3AC078-FC52-C9A7-DD4D-664A1099F0B2}"/>
              </a:ext>
            </a:extLst>
          </p:cNvPr>
          <p:cNvSpPr/>
          <p:nvPr userDrawn="1"/>
        </p:nvSpPr>
        <p:spPr>
          <a:xfrm>
            <a:off x="343760" y="0"/>
            <a:ext cx="1368162" cy="948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7E0B6EF-9FE5-3ABD-D01A-3EA55157571B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C33C8E9-ECA9-9B9D-4EB8-147683811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AA6E68C-A2CB-1C62-7EDC-C762E7C1BA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71884577-5178-B66C-7379-E082BEDB12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1448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C7C9152D-E530-5E14-9F3A-EE681761CE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1448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4382241-E7AB-CB61-77D6-D3D937EF5C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2918099"/>
            <a:ext cx="4601107" cy="26846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7A0CF601-A234-F58C-A19B-D80BD7ABEA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4294" y="4724444"/>
            <a:ext cx="3697432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1D181C7-3648-FC85-3C34-D7E98541BA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6075" y="479791"/>
            <a:ext cx="1103531" cy="384102"/>
          </a:xfrm>
          <a:prstGeom prst="rect">
            <a:avLst/>
          </a:prstGeom>
        </p:spPr>
      </p:pic>
      <p:sp>
        <p:nvSpPr>
          <p:cNvPr id="31" name="Title 1">
            <a:extLst>
              <a:ext uri="{FF2B5EF4-FFF2-40B4-BE49-F238E27FC236}">
                <a16:creationId xmlns:a16="http://schemas.microsoft.com/office/drawing/2014/main" id="{51BA8004-4AB3-AE2A-C388-40151D40D5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295" y="1357934"/>
            <a:ext cx="4486806" cy="1483971"/>
          </a:xfrm>
        </p:spPr>
        <p:txBody>
          <a:bodyPr vert="horz" anchor="b"/>
          <a:lstStyle>
            <a:lvl1pPr rtl="0">
              <a:lnSpc>
                <a:spcPct val="90000"/>
              </a:lnSpc>
              <a:defRPr sz="3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pic>
        <p:nvPicPr>
          <p:cNvPr id="37" name="Picture 36" descr="A picture containing icon&#10;&#10;Description automatically generated">
            <a:extLst>
              <a:ext uri="{FF2B5EF4-FFF2-40B4-BE49-F238E27FC236}">
                <a16:creationId xmlns:a16="http://schemas.microsoft.com/office/drawing/2014/main" id="{BA7AAF22-E9FF-BDC6-BE85-9726969A1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 amt="46000"/>
          </a:blip>
          <a:srcRect l="-10848" t="18486" r="8846" b="-7229"/>
          <a:stretch/>
        </p:blipFill>
        <p:spPr>
          <a:xfrm>
            <a:off x="1711921" y="-1"/>
            <a:ext cx="7432079" cy="5143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625243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022_Cover 3 (LargeP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C8D9EE5-912B-8A7E-B1A3-867A4129DBCA}"/>
              </a:ext>
            </a:extLst>
          </p:cNvPr>
          <p:cNvSpPr/>
          <p:nvPr userDrawn="1"/>
        </p:nvSpPr>
        <p:spPr>
          <a:xfrm>
            <a:off x="0" y="0"/>
            <a:ext cx="9162107" cy="51435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 descr="A city lit up at night&#10;&#10;Description automatically generated with low confidence">
            <a:extLst>
              <a:ext uri="{FF2B5EF4-FFF2-40B4-BE49-F238E27FC236}">
                <a16:creationId xmlns:a16="http://schemas.microsoft.com/office/drawing/2014/main" id="{A9ED8158-C116-6382-C1E5-8901CB7E72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36095"/>
            <a:ext cx="9162107" cy="360740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F6D7470-A419-A808-3331-6310F8CCB4E4}"/>
              </a:ext>
            </a:extLst>
          </p:cNvPr>
          <p:cNvSpPr/>
          <p:nvPr userDrawn="1"/>
        </p:nvSpPr>
        <p:spPr>
          <a:xfrm>
            <a:off x="0" y="0"/>
            <a:ext cx="5640404" cy="5072514"/>
          </a:xfrm>
          <a:prstGeom prst="rect">
            <a:avLst/>
          </a:prstGeom>
          <a:gradFill flip="none" rotWithShape="1">
            <a:gsLst>
              <a:gs pos="0">
                <a:srgbClr val="061928"/>
              </a:gs>
              <a:gs pos="97000">
                <a:schemeClr val="accent1">
                  <a:lumMod val="70000"/>
                  <a:alpha val="9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B91A13D-1FF3-CAA8-6D60-C2F7C3467D93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3AC078-FC52-C9A7-DD4D-664A1099F0B2}"/>
              </a:ext>
            </a:extLst>
          </p:cNvPr>
          <p:cNvSpPr/>
          <p:nvPr userDrawn="1"/>
        </p:nvSpPr>
        <p:spPr>
          <a:xfrm>
            <a:off x="343760" y="0"/>
            <a:ext cx="1368162" cy="948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7E0B6EF-9FE5-3ABD-D01A-3EA55157571B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C33C8E9-ECA9-9B9D-4EB8-147683811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AA6E68C-A2CB-1C62-7EDC-C762E7C1BA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71884577-5178-B66C-7379-E082BEDB12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1448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C7C9152D-E530-5E14-9F3A-EE681761CE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1448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51BA8004-4AB3-AE2A-C388-40151D40D5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295" y="1357934"/>
            <a:ext cx="4601106" cy="1483971"/>
          </a:xfrm>
        </p:spPr>
        <p:txBody>
          <a:bodyPr vert="horz" anchor="b"/>
          <a:lstStyle>
            <a:lvl1pPr rtl="0">
              <a:lnSpc>
                <a:spcPct val="90000"/>
              </a:lnSpc>
              <a:defRPr sz="3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4382241-E7AB-CB61-77D6-D3D937EF5C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2918099"/>
            <a:ext cx="4601107" cy="26846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7A0CF601-A234-F58C-A19B-D80BD7ABEA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4294" y="4724444"/>
            <a:ext cx="3697432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1D181C7-3648-FC85-3C34-D7E98541BA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6075" y="479791"/>
            <a:ext cx="1103531" cy="384102"/>
          </a:xfrm>
          <a:prstGeom prst="rect">
            <a:avLst/>
          </a:prstGeom>
        </p:spPr>
      </p:pic>
      <p:pic>
        <p:nvPicPr>
          <p:cNvPr id="10" name="Picture 9" descr="A person in a white shirt&#10;&#10;Description automatically generated with low confidence">
            <a:extLst>
              <a:ext uri="{FF2B5EF4-FFF2-40B4-BE49-F238E27FC236}">
                <a16:creationId xmlns:a16="http://schemas.microsoft.com/office/drawing/2014/main" id="{0EA6A1AE-34E9-661C-E132-2C14FE4D3A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8650" y="652292"/>
            <a:ext cx="4269275" cy="449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350442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Socia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70B63DD-888D-6B0E-DEA1-201EF89D7F9B}"/>
              </a:ext>
            </a:extLst>
          </p:cNvPr>
          <p:cNvSpPr/>
          <p:nvPr userDrawn="1"/>
        </p:nvSpPr>
        <p:spPr>
          <a:xfrm>
            <a:off x="0" y="0"/>
            <a:ext cx="9144000" cy="460857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89000"/>
                </a:schemeClr>
              </a:gs>
              <a:gs pos="23000">
                <a:schemeClr val="accent2">
                  <a:lumMod val="89000"/>
                </a:schemeClr>
              </a:gs>
              <a:gs pos="69000">
                <a:schemeClr val="accent2">
                  <a:lumMod val="75000"/>
                </a:schemeClr>
              </a:gs>
              <a:gs pos="97000">
                <a:schemeClr val="accent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22730" y="3428363"/>
            <a:ext cx="470370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ocial</a:t>
            </a:r>
            <a:r>
              <a:rPr lang="en-US" sz="3000" b="1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a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35814" y="3439340"/>
            <a:ext cx="37065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Photos</a:t>
            </a:r>
          </a:p>
        </p:txBody>
      </p:sp>
      <p:sp>
        <p:nvSpPr>
          <p:cNvPr id="4" name="&quot;No&quot; Symbol 3">
            <a:extLst>
              <a:ext uri="{FF2B5EF4-FFF2-40B4-BE49-F238E27FC236}">
                <a16:creationId xmlns:a16="http://schemas.microsoft.com/office/drawing/2014/main" id="{E66CBF15-AB86-B34C-9871-8CA24DF2AF15}"/>
              </a:ext>
            </a:extLst>
          </p:cNvPr>
          <p:cNvSpPr/>
          <p:nvPr/>
        </p:nvSpPr>
        <p:spPr>
          <a:xfrm>
            <a:off x="1515017" y="769371"/>
            <a:ext cx="2319130" cy="2319130"/>
          </a:xfrm>
          <a:prstGeom prst="noSmoking">
            <a:avLst>
              <a:gd name="adj" fmla="val 167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&quot;No&quot; Symbol 26">
            <a:extLst>
              <a:ext uri="{FF2B5EF4-FFF2-40B4-BE49-F238E27FC236}">
                <a16:creationId xmlns:a16="http://schemas.microsoft.com/office/drawing/2014/main" id="{A9FDC936-1DB3-E349-BF29-2C2FBCB70CF9}"/>
              </a:ext>
            </a:extLst>
          </p:cNvPr>
          <p:cNvSpPr/>
          <p:nvPr/>
        </p:nvSpPr>
        <p:spPr>
          <a:xfrm>
            <a:off x="5301965" y="769371"/>
            <a:ext cx="2319130" cy="2319130"/>
          </a:xfrm>
          <a:prstGeom prst="noSmoking">
            <a:avLst>
              <a:gd name="adj" fmla="val 167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1A478D5-C1E8-3D47-AF35-7DEC6D545F7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107272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7508FBD-30BF-AC98-CD51-D0ECA4994696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4049"/>
                  <a:lumOff val="5951"/>
                </a:schemeClr>
              </a:gs>
              <a:gs pos="23000">
                <a:schemeClr val="accent1">
                  <a:lumMod val="94000"/>
                  <a:lumOff val="6000"/>
                </a:schemeClr>
              </a:gs>
              <a:gs pos="69000">
                <a:schemeClr val="accent1">
                  <a:lumMod val="75000"/>
                </a:schemeClr>
              </a:gs>
              <a:gs pos="96000">
                <a:schemeClr val="tx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4077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2238499" y="0"/>
            <a:ext cx="6905501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42550" y="311216"/>
            <a:ext cx="1612773" cy="581018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buFontTx/>
              <a:buNone/>
              <a:defRPr sz="28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B7E561F-D2B1-4D40-9A4F-63CA09A7D04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8CB5B7F-2AE1-7241-AB15-A145D7FDD2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28900" y="476873"/>
            <a:ext cx="6130926" cy="4277409"/>
          </a:xfrm>
        </p:spPr>
        <p:txBody>
          <a:bodyPr>
            <a:noAutofit/>
          </a:bodyPr>
          <a:lstStyle>
            <a:lvl1pPr marL="285750" indent="-166688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Font typeface="Arial" charset="0"/>
              <a:buChar char="•"/>
              <a:tabLst/>
              <a:defRPr sz="18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1775" indent="-115888">
              <a:lnSpc>
                <a:spcPct val="75000"/>
              </a:lnSpc>
              <a:buClr>
                <a:schemeClr val="accent5"/>
              </a:buClr>
              <a:tabLst/>
              <a:defRPr sz="1200">
                <a:solidFill>
                  <a:schemeClr val="accent5"/>
                </a:solidFill>
              </a:defRPr>
            </a:lvl2pPr>
            <a:lvl3pPr marL="32004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System Font Regular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  <a:p>
            <a:pPr lvl="0"/>
            <a:r>
              <a:rPr lang="en-US" dirty="0"/>
              <a:t>Item</a:t>
            </a:r>
          </a:p>
          <a:p>
            <a:pPr lvl="0"/>
            <a:r>
              <a:rPr lang="en-US" dirty="0"/>
              <a:t>Item</a:t>
            </a:r>
          </a:p>
          <a:p>
            <a:pPr lvl="0"/>
            <a:r>
              <a:rPr lang="en-US" dirty="0"/>
              <a:t>Item</a:t>
            </a:r>
          </a:p>
          <a:p>
            <a:pPr lvl="0"/>
            <a:r>
              <a:rPr lang="en-US" dirty="0"/>
              <a:t>Item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96ACFF-8824-394E-92C3-C9BE4A7A6116}"/>
              </a:ext>
            </a:extLst>
          </p:cNvPr>
          <p:cNvSpPr txBox="1">
            <a:spLocks/>
          </p:cNvSpPr>
          <p:nvPr userDrawn="1"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41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F56E952B-9163-6868-FCCE-2D85FD95A60C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4049"/>
                  <a:lumOff val="5951"/>
                </a:schemeClr>
              </a:gs>
              <a:gs pos="23000">
                <a:schemeClr val="accent1">
                  <a:lumMod val="94000"/>
                  <a:lumOff val="6000"/>
                </a:schemeClr>
              </a:gs>
              <a:gs pos="69000">
                <a:schemeClr val="accent1">
                  <a:lumMod val="75000"/>
                </a:schemeClr>
              </a:gs>
              <a:gs pos="96000">
                <a:schemeClr val="tx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4F1E835-AB1E-4F37-9C5B-3BA83DFD617B}"/>
              </a:ext>
            </a:extLst>
          </p:cNvPr>
          <p:cNvSpPr/>
          <p:nvPr userDrawn="1"/>
        </p:nvSpPr>
        <p:spPr>
          <a:xfrm flipH="1">
            <a:off x="2238499" y="0"/>
            <a:ext cx="6905501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4077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42550" y="311216"/>
            <a:ext cx="1612773" cy="581018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buFontTx/>
              <a:buNone/>
              <a:defRPr sz="28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B7E561F-D2B1-4D40-9A4F-63CA09A7D04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96ACFF-8824-394E-92C3-C9BE4A7A6116}"/>
              </a:ext>
            </a:extLst>
          </p:cNvPr>
          <p:cNvSpPr txBox="1">
            <a:spLocks/>
          </p:cNvSpPr>
          <p:nvPr userDrawn="1"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able Placeholder 20">
            <a:extLst>
              <a:ext uri="{FF2B5EF4-FFF2-40B4-BE49-F238E27FC236}">
                <a16:creationId xmlns:a16="http://schemas.microsoft.com/office/drawing/2014/main" id="{D89A8FBA-BC5A-4DB3-75C0-931FCCA4B4E6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2628900" y="481806"/>
            <a:ext cx="6003925" cy="411642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441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288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9"/>
            <a:ext cx="8106305" cy="391380"/>
          </a:xfrm>
        </p:spPr>
        <p:txBody>
          <a:bodyPr vert="horz"/>
          <a:lstStyle>
            <a:lvl1pPr rtl="0">
              <a:lnSpc>
                <a:spcPct val="90000"/>
              </a:lnSpc>
              <a:defRPr sz="28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95300" y="1195252"/>
            <a:ext cx="8117072" cy="3355632"/>
          </a:xfrm>
        </p:spPr>
        <p:txBody>
          <a:bodyPr tIns="0" bIns="0">
            <a:noAutofit/>
          </a:bodyPr>
          <a:lstStyle>
            <a:lvl1pPr marL="171450" indent="-171450" rtl="0">
              <a:buClr>
                <a:schemeClr val="accent5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14350" indent="-171450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88975" indent="-11430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15988" indent="-1127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144588" indent="-115888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730406"/>
            <a:ext cx="8106305" cy="243662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0298519-CC8E-F148-AEAB-152C16C51C3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704C4AB5-F68F-5271-34CC-583BEE75C324}"/>
              </a:ext>
            </a:extLst>
          </p:cNvPr>
          <p:cNvGrpSpPr/>
          <p:nvPr userDrawn="1"/>
        </p:nvGrpSpPr>
        <p:grpSpPr>
          <a:xfrm>
            <a:off x="-248194" y="359229"/>
            <a:ext cx="173853" cy="1051560"/>
            <a:chOff x="-111034" y="359229"/>
            <a:chExt cx="1158022" cy="105156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BE078D9-B28C-9ABB-B628-1E78AE2EBFE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22C2688-657D-AEF0-CFB9-6345D81C7F4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4121C83E-077F-ABA4-2E91-7B1CF1FE8C6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0FC8082-9BE6-7E8A-6BCB-262857A3B14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D9FE133-CC26-041F-947D-7C50501DD13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2BAF269-2331-3715-C501-AD7B397BDF8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93025408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4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8"/>
            <a:ext cx="8106305" cy="513211"/>
          </a:xfrm>
        </p:spPr>
        <p:txBody>
          <a:bodyPr vert="horz"/>
          <a:lstStyle>
            <a:lvl1pPr rtl="0">
              <a:lnSpc>
                <a:spcPct val="90000"/>
              </a:lnSpc>
              <a:defRPr sz="28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A9E7F9D-BD52-E840-B06E-13D456ADC60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2982BD-CE65-794E-AA5D-470908267218}"/>
              </a:ext>
            </a:extLst>
          </p:cNvPr>
          <p:cNvSpPr txBox="1">
            <a:spLocks/>
          </p:cNvSpPr>
          <p:nvPr userDrawn="1"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70EBF32-3EE7-914A-08BE-A29D454E7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5300" y="1195252"/>
            <a:ext cx="8117072" cy="3355632"/>
          </a:xfrm>
        </p:spPr>
        <p:txBody>
          <a:bodyPr tIns="0" bIns="0">
            <a:noAutofit/>
          </a:bodyPr>
          <a:lstStyle>
            <a:lvl1pPr marL="171450" indent="-171450" rtl="0">
              <a:buClr>
                <a:schemeClr val="accent5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14350" indent="-171450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88975" indent="-11430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15988" indent="-1127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144588" indent="-115888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3ECD69-E7D2-FC78-1AD8-2020AECEE3BF}"/>
              </a:ext>
            </a:extLst>
          </p:cNvPr>
          <p:cNvGrpSpPr/>
          <p:nvPr userDrawn="1"/>
        </p:nvGrpSpPr>
        <p:grpSpPr>
          <a:xfrm>
            <a:off x="-248194" y="359229"/>
            <a:ext cx="173853" cy="1051560"/>
            <a:chOff x="-111034" y="359229"/>
            <a:chExt cx="1158022" cy="10515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88BDCA2-126C-285A-840C-610CABDBA41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BBA0F05-0A5F-0000-BBC7-CD14B092CFF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207DCC3-9F0A-3EB7-476C-9E135767D4C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136513F-9326-85FF-6DC6-68B65ED9F62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8095A34-F2E2-A3C2-889D-8F8E2BE4A6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FE67A5F-3E16-0F4C-E296-05C4282E415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746703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91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9"/>
            <a:ext cx="8106305" cy="391380"/>
          </a:xfrm>
        </p:spPr>
        <p:txBody>
          <a:bodyPr vert="horz"/>
          <a:lstStyle>
            <a:lvl1pPr rtl="0">
              <a:lnSpc>
                <a:spcPct val="90000"/>
              </a:lnSpc>
              <a:defRPr sz="28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730406"/>
            <a:ext cx="8106305" cy="243662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3BBCA98-52C5-7E47-A06C-F07FE9F33E3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18880699-FC7F-A94F-5469-A4E5B4A5D7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5300" y="1195252"/>
            <a:ext cx="3743597" cy="3355632"/>
          </a:xfrm>
        </p:spPr>
        <p:txBody>
          <a:bodyPr tIns="0" bIns="0">
            <a:noAutofit/>
          </a:bodyPr>
          <a:lstStyle>
            <a:lvl1pPr marL="171450" indent="-171450" rtl="0">
              <a:buClr>
                <a:schemeClr val="accent5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14350" indent="-171450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88975" indent="-11430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15988" indent="-1127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144588" indent="-115888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55306FA-6C30-6944-1A20-86B5A6E7C9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01540" y="1195252"/>
            <a:ext cx="3743597" cy="3355632"/>
          </a:xfrm>
        </p:spPr>
        <p:txBody>
          <a:bodyPr tIns="0" bIns="0">
            <a:noAutofit/>
          </a:bodyPr>
          <a:lstStyle>
            <a:lvl1pPr marL="171450" indent="-171450" rtl="0">
              <a:buClr>
                <a:schemeClr val="accent5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14350" indent="-171450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88975" indent="-11430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15988" indent="-1127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144588" indent="-115888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D5868B0-9C07-EA9E-55AA-953197478475}"/>
              </a:ext>
            </a:extLst>
          </p:cNvPr>
          <p:cNvGrpSpPr/>
          <p:nvPr userDrawn="1"/>
        </p:nvGrpSpPr>
        <p:grpSpPr>
          <a:xfrm>
            <a:off x="-248194" y="359229"/>
            <a:ext cx="173853" cy="1051560"/>
            <a:chOff x="-111034" y="359229"/>
            <a:chExt cx="1158022" cy="105156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EFFE31B-3677-A648-3EFB-603B0409379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8843936-BF73-A7D1-C080-5736A256D2B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CB910518-926A-5B35-65DE-468299DE6DA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2791AF8-DBA6-E577-F9AE-276727BA594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8922B00-A24C-5810-95D1-D9254A352D6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E84D5A6-1CCD-56D0-9F6F-8E4EEAF7CBB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12480542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with open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131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95299" y="1197854"/>
            <a:ext cx="8086535" cy="3104127"/>
          </a:xfrm>
        </p:spPr>
        <p:txBody>
          <a:bodyPr tIns="0" bIns="0">
            <a:noAutofit/>
          </a:bodyPr>
          <a:lstStyle>
            <a:lvl1pPr marL="171450" indent="-171450" rtl="0">
              <a:buClr>
                <a:schemeClr val="accent5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14350" indent="-171450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88975" indent="-11430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15988" indent="-1127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144588" indent="-115888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9"/>
            <a:ext cx="8106305" cy="391380"/>
          </a:xfrm>
        </p:spPr>
        <p:txBody>
          <a:bodyPr vert="horz"/>
          <a:lstStyle>
            <a:lvl1pPr rtl="0">
              <a:lnSpc>
                <a:spcPct val="90000"/>
              </a:lnSpc>
              <a:defRPr sz="28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730406"/>
            <a:ext cx="8106305" cy="243662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54C9B13-5D03-884F-8851-0EFF8DED8DF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14726B90-E0AD-1E74-4E99-26E946580A30}"/>
              </a:ext>
            </a:extLst>
          </p:cNvPr>
          <p:cNvGrpSpPr/>
          <p:nvPr userDrawn="1"/>
        </p:nvGrpSpPr>
        <p:grpSpPr>
          <a:xfrm>
            <a:off x="-248194" y="359229"/>
            <a:ext cx="173853" cy="1051560"/>
            <a:chOff x="-111034" y="359229"/>
            <a:chExt cx="1158022" cy="105156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C6B9AF2-EF7E-8EF1-7D9F-92383FAA955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9CC2037-E77C-5C3A-4249-6E6FE3302D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E75CD57-EBBB-A1F3-9ABB-83DAA32DD4F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0A2C573-1E36-244E-1086-5291F48A161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FBE5BB9-B952-CCD5-57EE-3D01E0A83B2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CBB1758-AED6-61D6-5E48-03FC83157DC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78786685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8324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95299" y="1202250"/>
            <a:ext cx="8115299" cy="3079186"/>
          </a:xfrm>
        </p:spPr>
        <p:txBody>
          <a:bodyPr tIns="0" bIns="0">
            <a:noAutofit/>
          </a:bodyPr>
          <a:lstStyle>
            <a:lvl1pPr marL="0" indent="0" rtl="0">
              <a:buClr>
                <a:schemeClr val="accent5"/>
              </a:buClr>
              <a:buFontTx/>
              <a:buNone/>
              <a:defRPr sz="2000" b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763" indent="0" rtl="0">
              <a:buClr>
                <a:schemeClr val="accent5"/>
              </a:buClr>
              <a:buFontTx/>
              <a:buNone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85800" indent="0">
              <a:buClr>
                <a:schemeClr val="accent5"/>
              </a:buClr>
              <a:buFontTx/>
              <a:buNone/>
              <a:tabLst/>
              <a:defRPr sz="1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Clr>
                <a:schemeClr val="accent5"/>
              </a:buClr>
              <a:buFontTx/>
              <a:buNone/>
              <a:defRPr sz="11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Clr>
                <a:schemeClr val="accent5"/>
              </a:buClr>
              <a:buFontTx/>
              <a:buNone/>
              <a:defRPr sz="11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9"/>
            <a:ext cx="8106305" cy="391380"/>
          </a:xfrm>
        </p:spPr>
        <p:txBody>
          <a:bodyPr vert="horz"/>
          <a:lstStyle>
            <a:lvl1pPr rtl="0">
              <a:lnSpc>
                <a:spcPct val="90000"/>
              </a:lnSpc>
              <a:defRPr sz="28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730406"/>
            <a:ext cx="8106305" cy="243662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2E2650B-E06B-834F-B8BE-DD8E98F5E29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39FB7758-3E05-8D9C-112A-2C1C18171DFF}"/>
              </a:ext>
            </a:extLst>
          </p:cNvPr>
          <p:cNvGrpSpPr/>
          <p:nvPr userDrawn="1"/>
        </p:nvGrpSpPr>
        <p:grpSpPr>
          <a:xfrm>
            <a:off x="-248194" y="359229"/>
            <a:ext cx="173853" cy="1051560"/>
            <a:chOff x="-111034" y="359229"/>
            <a:chExt cx="1158022" cy="105156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72EE22C-33A3-03A4-9949-3713E48EEAA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581B190-33BA-4F44-273E-F2F9DE24605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6B9A871-3D6C-B3D3-FC17-EC22B89ECB1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7DEE9CD-D82F-7B1C-BBB5-9DB7A50A066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8A656AD-E239-CE61-999E-C12C2C718F7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B9BFA86-5D8C-7D4A-EB8C-76DCC7ED5E5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35409879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08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9"/>
            <a:ext cx="8106305" cy="391380"/>
          </a:xfrm>
        </p:spPr>
        <p:txBody>
          <a:bodyPr vert="horz"/>
          <a:lstStyle>
            <a:lvl1pPr rtl="0">
              <a:lnSpc>
                <a:spcPct val="90000"/>
              </a:lnSpc>
              <a:defRPr sz="28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730406"/>
            <a:ext cx="8106305" cy="243662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A5DD24B-CE7F-274D-8C3C-FE5613AAFA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8583303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8583303" y="4748694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8583303" y="4758619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8583303" y="4751598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AF511A3-81CA-BD40-8853-F2B4E6B3C42C}"/>
              </a:ext>
            </a:extLst>
          </p:cNvPr>
          <p:cNvSpPr txBox="1">
            <a:spLocks/>
          </p:cNvSpPr>
          <p:nvPr userDrawn="1"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FD1DA16-2A53-99D8-3EBE-EFDF970AC887}"/>
              </a:ext>
            </a:extLst>
          </p:cNvPr>
          <p:cNvGrpSpPr/>
          <p:nvPr userDrawn="1"/>
        </p:nvGrpSpPr>
        <p:grpSpPr>
          <a:xfrm>
            <a:off x="-248194" y="359229"/>
            <a:ext cx="173853" cy="1051560"/>
            <a:chOff x="-111034" y="359229"/>
            <a:chExt cx="1158022" cy="105156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E1BE6ED-5E3E-515F-50B3-AEF43F68ED2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918AD2-B56E-70C5-BC42-1A2CF0E545B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A89627E-0160-AF9E-CA71-6632C77C100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F588923-2E4B-B8FE-C700-561E2215496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5C0ECA02-2D04-573A-6879-147FA181A00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6836872-3CD6-E14F-F461-70202099A53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86198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Cover 1 (Woman-pie 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77318E7B-5EBE-3310-23D8-75F7B26F8E7D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Picture 17" descr="A picture containing icon&#10;&#10;Description automatically generated">
            <a:extLst>
              <a:ext uri="{FF2B5EF4-FFF2-40B4-BE49-F238E27FC236}">
                <a16:creationId xmlns:a16="http://schemas.microsoft.com/office/drawing/2014/main" id="{803ADBD7-A4D0-4FF5-921C-D259FE4B0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46000"/>
          </a:blip>
          <a:srcRect l="-10848" t="18486" r="8846" b="-7229"/>
          <a:stretch/>
        </p:blipFill>
        <p:spPr>
          <a:xfrm>
            <a:off x="1711921" y="-1"/>
            <a:ext cx="7432079" cy="514350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F6B1E12-6192-4246-8FB4-89CCA680F6D3}"/>
              </a:ext>
            </a:extLst>
          </p:cNvPr>
          <p:cNvSpPr/>
          <p:nvPr/>
        </p:nvSpPr>
        <p:spPr>
          <a:xfrm>
            <a:off x="343760" y="0"/>
            <a:ext cx="1368162" cy="948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5FF983B-CED4-EF4C-88EE-3AA65DDD41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8D660F7-AEBF-F84F-9AD7-170E3FD25B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086BFF2-0F8E-8B46-84E9-D1487300B4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1448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3D1CB5B-8A68-384A-AFAB-12FB2F6192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1448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04295" y="1357934"/>
            <a:ext cx="4601106" cy="1483971"/>
          </a:xfrm>
        </p:spPr>
        <p:txBody>
          <a:bodyPr vert="horz" anchor="b"/>
          <a:lstStyle>
            <a:lvl1pPr rtl="0">
              <a:lnSpc>
                <a:spcPct val="90000"/>
              </a:lnSpc>
              <a:defRPr sz="3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2918099"/>
            <a:ext cx="4601107" cy="26846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81EAFF-6B59-444A-8347-4C73C6F20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4294" y="4724444"/>
            <a:ext cx="3697432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76ABE4C1-2EAB-DB4A-B16E-FEAE815E3CA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6075" y="479791"/>
            <a:ext cx="1103531" cy="384102"/>
          </a:xfrm>
          <a:prstGeom prst="rect">
            <a:avLst/>
          </a:prstGeom>
        </p:spPr>
      </p:pic>
      <p:pic>
        <p:nvPicPr>
          <p:cNvPr id="29" name="Picture 28" descr="A person with the arms crossed&#10;&#10;Description automatically generated">
            <a:extLst>
              <a:ext uri="{FF2B5EF4-FFF2-40B4-BE49-F238E27FC236}">
                <a16:creationId xmlns:a16="http://schemas.microsoft.com/office/drawing/2014/main" id="{0B3C3C7A-B926-CE73-6B24-22CBFBA067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53770" y="550333"/>
            <a:ext cx="2838186" cy="4605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705608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4351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8"/>
            <a:ext cx="8106305" cy="513211"/>
          </a:xfrm>
        </p:spPr>
        <p:txBody>
          <a:bodyPr vert="horz"/>
          <a:lstStyle>
            <a:lvl1pPr rtl="0">
              <a:lnSpc>
                <a:spcPct val="90000"/>
              </a:lnSpc>
              <a:defRPr sz="28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1A3B2C1-E0E3-7D47-ABB5-A375C552A5C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56660C7-4F0B-524E-A704-AE273120CEAD}"/>
              </a:ext>
            </a:extLst>
          </p:cNvPr>
          <p:cNvSpPr txBox="1">
            <a:spLocks/>
          </p:cNvSpPr>
          <p:nvPr userDrawn="1"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B662FDE-3372-F845-930A-5A4AB8A12913}"/>
              </a:ext>
            </a:extLst>
          </p:cNvPr>
          <p:cNvGrpSpPr/>
          <p:nvPr userDrawn="1"/>
        </p:nvGrpSpPr>
        <p:grpSpPr>
          <a:xfrm>
            <a:off x="-248194" y="359229"/>
            <a:ext cx="173853" cy="1051560"/>
            <a:chOff x="-111034" y="359229"/>
            <a:chExt cx="1158022" cy="105156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8BDFB93-DAB0-7331-5B8D-C7B5FF075DA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ADF8273-2642-CB11-6922-172DAF18BF5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C3AD34E-0F3F-8DEB-A432-648A86D7751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F162CD-15F4-B095-9716-F236FD847C4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C414CB8-2E07-09E5-51E5-33FBE0A9C87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9F48E30-7C9D-AFF2-5085-B6206F9CC11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265222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850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84086" y="3432506"/>
            <a:ext cx="1506132" cy="744744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1028700" indent="0" algn="ctr">
              <a:buFontTx/>
              <a:buNone/>
              <a:defRPr/>
            </a:lvl4pPr>
            <a:lvl5pPr marL="1371600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584086" y="3200775"/>
            <a:ext cx="1506132" cy="23173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1028700" indent="0" algn="ctr">
              <a:buFontTx/>
              <a:buNone/>
              <a:defRPr/>
            </a:lvl4pPr>
            <a:lvl5pPr marL="1371600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2669670" y="3432506"/>
            <a:ext cx="1506132" cy="744744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1028700" indent="0" algn="ctr">
              <a:buFontTx/>
              <a:buNone/>
              <a:defRPr/>
            </a:lvl4pPr>
            <a:lvl5pPr marL="1371600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2669670" y="3200775"/>
            <a:ext cx="1506132" cy="231732"/>
          </a:xfrm>
        </p:spPr>
        <p:txBody>
          <a:bodyPr tIns="0" bIns="0">
            <a:noAutofit/>
          </a:bodyPr>
          <a:lstStyle>
            <a:lvl1pPr marL="0" marR="0" indent="0" algn="ctr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1028700" indent="0" algn="ctr">
              <a:buFontTx/>
              <a:buNone/>
              <a:defRPr/>
            </a:lvl4pPr>
            <a:lvl5pPr marL="1371600" indent="0" algn="ctr">
              <a:buFontTx/>
              <a:buNone/>
              <a:defRPr/>
            </a:lvl5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dirty="0"/>
              <a:t>Click to edit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4761517" y="3432506"/>
            <a:ext cx="1506132" cy="744744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1028700" indent="0" algn="ctr">
              <a:buFontTx/>
              <a:buNone/>
              <a:defRPr/>
            </a:lvl4pPr>
            <a:lvl5pPr marL="1371600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761517" y="3200775"/>
            <a:ext cx="1506132" cy="23173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1028700" indent="0" algn="ctr">
              <a:buFontTx/>
              <a:buNone/>
              <a:defRPr/>
            </a:lvl4pPr>
            <a:lvl5pPr marL="1371600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6834575" y="3432506"/>
            <a:ext cx="1506132" cy="744744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1028700" indent="0" algn="ctr">
              <a:buFontTx/>
              <a:buNone/>
              <a:defRPr/>
            </a:lvl4pPr>
            <a:lvl5pPr marL="1371600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6834575" y="3200775"/>
            <a:ext cx="1506132" cy="23173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1028700" indent="0" algn="ctr">
              <a:buFontTx/>
              <a:buNone/>
              <a:defRPr/>
            </a:lvl4pPr>
            <a:lvl5pPr marL="1371600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9"/>
            <a:ext cx="8106305" cy="391380"/>
          </a:xfrm>
        </p:spPr>
        <p:txBody>
          <a:bodyPr vert="horz"/>
          <a:lstStyle>
            <a:lvl1pPr rtl="0">
              <a:lnSpc>
                <a:spcPct val="90000"/>
              </a:lnSpc>
              <a:defRPr sz="28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730406"/>
            <a:ext cx="8106305" cy="243662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C86D21F-0EB9-F14C-A173-75ECA0CAE9B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9832F078-384A-48CF-B280-575038E63097}"/>
              </a:ext>
            </a:extLst>
          </p:cNvPr>
          <p:cNvGrpSpPr/>
          <p:nvPr userDrawn="1"/>
        </p:nvGrpSpPr>
        <p:grpSpPr>
          <a:xfrm>
            <a:off x="-248194" y="359229"/>
            <a:ext cx="173853" cy="1051560"/>
            <a:chOff x="-111034" y="359229"/>
            <a:chExt cx="1158022" cy="105156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F444BB2-87E0-1739-A385-A83CCF98C3C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92BCFEC-908D-4903-FC39-19BE1F16DF8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40275F0E-D280-8FCC-D544-C294D697F3C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0E10DD3-6163-A36F-7F6F-4339C48CD64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5E8C34E3-6C9F-317A-6405-A6039F6436C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958D6ACB-17CD-C506-05C8-3DE4908EFF2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86372094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ackground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E97B51-9F12-8747-98EF-0F5880AB38E8}"/>
              </a:ext>
            </a:extLst>
          </p:cNvPr>
          <p:cNvSpPr/>
          <p:nvPr/>
        </p:nvSpPr>
        <p:spPr>
          <a:xfrm>
            <a:off x="0" y="1035424"/>
            <a:ext cx="9144000" cy="41080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5940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9"/>
            <a:ext cx="8106305" cy="391380"/>
          </a:xfrm>
        </p:spPr>
        <p:txBody>
          <a:bodyPr vert="horz"/>
          <a:lstStyle>
            <a:lvl1pPr rtl="0">
              <a:lnSpc>
                <a:spcPct val="90000"/>
              </a:lnSpc>
              <a:defRPr sz="28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730406"/>
            <a:ext cx="8106305" cy="243662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204A3BE-129A-904E-8E76-84CE5C71A0B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AD559E6-E466-6348-CC68-A657E844ED21}"/>
              </a:ext>
            </a:extLst>
          </p:cNvPr>
          <p:cNvGrpSpPr/>
          <p:nvPr userDrawn="1"/>
        </p:nvGrpSpPr>
        <p:grpSpPr>
          <a:xfrm>
            <a:off x="-557561" y="359229"/>
            <a:ext cx="483220" cy="1051560"/>
            <a:chOff x="-557561" y="359229"/>
            <a:chExt cx="483220" cy="105156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AB728A6-3AC1-EE16-7933-29F7ECFAF773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1CAD5587-BD1A-23D0-77E6-0F7279AE27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ACC25AF0-FBC6-B36F-ABA4-A7307DE7865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9FE45EE-E6AE-07C6-63C1-7F07DEA886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A2693568-4693-DCFA-DDED-351C9E7D5D4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5399DC3A-9DD8-3575-28AA-34E311926EF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E63FEB28-B2C0-08D7-4AD8-05E47D84C0D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512095-2A4D-D6D5-0D29-EC0F82C54B4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69321319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5858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2AD132A-F027-0046-B334-DA338DE9CD4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748381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5858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259699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Sub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FE5F67C3-640D-4740-AA2B-707DBF50B7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035424"/>
            <a:ext cx="9144000" cy="4108076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8"/>
            <a:ext cx="8106305" cy="513211"/>
          </a:xfrm>
        </p:spPr>
        <p:txBody>
          <a:bodyPr/>
          <a:lstStyle>
            <a:lvl1pPr>
              <a:lnSpc>
                <a:spcPct val="90000"/>
              </a:lnSpc>
              <a:defRPr sz="2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4294" y="734598"/>
            <a:ext cx="8106305" cy="243662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accent5"/>
                </a:solidFill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904EB8B-0613-3448-B6F5-B26E8EF39224}"/>
              </a:ext>
            </a:extLst>
          </p:cNvPr>
          <p:cNvSpPr txBox="1">
            <a:spLocks/>
          </p:cNvSpPr>
          <p:nvPr userDrawn="1"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4108B42-A27C-8B7E-E44C-0D020114A127}"/>
              </a:ext>
            </a:extLst>
          </p:cNvPr>
          <p:cNvGrpSpPr/>
          <p:nvPr userDrawn="1"/>
        </p:nvGrpSpPr>
        <p:grpSpPr>
          <a:xfrm>
            <a:off x="-557561" y="359229"/>
            <a:ext cx="483220" cy="1051560"/>
            <a:chOff x="-557561" y="359229"/>
            <a:chExt cx="483220" cy="1051560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BDF43F1-E255-B2E0-C15C-32E34102F4D1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864AE85D-E003-D62A-4773-D5AF6965CE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BB9BCADB-72B4-C69B-1660-4B19552CBFB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12A995B7-DD63-AEB0-4779-505A0170EB7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A36D9F91-51D1-E4F1-E9E6-08E096F582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FC88D5B1-AC51-C541-7F23-0DFDE5B623B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58E38D51-5960-6A1F-E41D-8B2FD2DE385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554E53F5-A5C4-1A05-7F59-DD1980DF47B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Graphic 17">
            <a:extLst>
              <a:ext uri="{FF2B5EF4-FFF2-40B4-BE49-F238E27FC236}">
                <a16:creationId xmlns:a16="http://schemas.microsoft.com/office/drawing/2014/main" id="{E79F7D45-275B-8615-2EB3-356E1509D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7373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FD1B140-E768-9349-BB52-F77A0C5FBD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035424"/>
            <a:ext cx="9144000" cy="4108076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8"/>
            <a:ext cx="8106305" cy="513211"/>
          </a:xfrm>
        </p:spPr>
        <p:txBody>
          <a:bodyPr/>
          <a:lstStyle>
            <a:lvl1pPr>
              <a:lnSpc>
                <a:spcPct val="90000"/>
              </a:lnSpc>
              <a:defRPr sz="2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342181B-50EC-034D-8863-722F7C2872A7}"/>
              </a:ext>
            </a:extLst>
          </p:cNvPr>
          <p:cNvSpPr txBox="1">
            <a:spLocks/>
          </p:cNvSpPr>
          <p:nvPr userDrawn="1"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2CF4EE-4F09-56FD-B1DC-48FE0170CC86}"/>
              </a:ext>
            </a:extLst>
          </p:cNvPr>
          <p:cNvGrpSpPr/>
          <p:nvPr userDrawn="1"/>
        </p:nvGrpSpPr>
        <p:grpSpPr>
          <a:xfrm>
            <a:off x="-557561" y="359229"/>
            <a:ext cx="483220" cy="1051560"/>
            <a:chOff x="-557561" y="359229"/>
            <a:chExt cx="483220" cy="105156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3B28EB5-18BE-C939-5044-1BD3F2DA5E67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DB07229-A57B-C47B-24DD-2BD68EAD71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497EEA44-B1D6-C7A7-4CA4-BAB0D777838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5ABC68A9-B239-D2BB-E99F-6AEE83B416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A31629A5-192D-ED8F-A107-27C5D759945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7D1A9B47-6BD9-6BE5-B25A-1183F04F18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0E747622-76E8-E7E1-806B-1942ED3E14E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0437313-FE45-0E11-9079-7B1C1D619BD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Graphic 16">
            <a:extLst>
              <a:ext uri="{FF2B5EF4-FFF2-40B4-BE49-F238E27FC236}">
                <a16:creationId xmlns:a16="http://schemas.microsoft.com/office/drawing/2014/main" id="{B1ABBBCF-64DB-AA71-37E4-75D13A06E2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6339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79A4FE8-5BBD-5144-B80B-83166EEC7B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CACEB18-FCF0-D2A2-40BF-936A53EB2A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2596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+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559300" cy="51435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949749" y="274639"/>
            <a:ext cx="3904650" cy="782265"/>
          </a:xfrm>
        </p:spPr>
        <p:txBody>
          <a:bodyPr/>
          <a:lstStyle>
            <a:lvl1pPr>
              <a:lnSpc>
                <a:spcPct val="90000"/>
              </a:lnSpc>
              <a:defRPr sz="2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949749" y="1119534"/>
            <a:ext cx="3904650" cy="243662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accent5"/>
                </a:solidFill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4952456" y="1567784"/>
            <a:ext cx="3913644" cy="2877964"/>
          </a:xfrm>
        </p:spPr>
        <p:txBody>
          <a:bodyPr tIns="0" bIns="0">
            <a:noAutofit/>
          </a:bodyPr>
          <a:lstStyle>
            <a:lvl1pPr marL="171450" indent="-171450">
              <a:buClr>
                <a:schemeClr val="accent5"/>
              </a:buClr>
              <a:buFont typeface="Arial" charset="0"/>
              <a:buChar char="•"/>
              <a:defRPr sz="2000">
                <a:solidFill>
                  <a:schemeClr val="tx1"/>
                </a:solidFill>
              </a:defRPr>
            </a:lvl1pPr>
            <a:lvl2pPr marL="514350" indent="-17145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>
                <a:solidFill>
                  <a:schemeClr val="tx1"/>
                </a:solidFill>
              </a:defRPr>
            </a:lvl2pPr>
            <a:lvl3pPr marL="688975" indent="-11430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915988" indent="-1127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144588" indent="-115888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DE1BD30-ECE7-D498-506C-BD98CAA01DFB}"/>
              </a:ext>
            </a:extLst>
          </p:cNvPr>
          <p:cNvGrpSpPr/>
          <p:nvPr userDrawn="1"/>
        </p:nvGrpSpPr>
        <p:grpSpPr>
          <a:xfrm>
            <a:off x="-557561" y="359229"/>
            <a:ext cx="483220" cy="1051560"/>
            <a:chOff x="-557561" y="359229"/>
            <a:chExt cx="483220" cy="1051560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F397304-18FE-BAA5-780F-365F5532FE4E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D72820CD-059E-3023-AD70-42FECF86FB7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EAA11259-8C6A-00C2-B70E-4FAB939190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BEFF3218-58D7-98DA-DDEE-2EDC1C93DD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B3B4FB6F-16B5-D20D-0B30-25F1DE02AC6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D09E66A1-20AB-79BB-69E7-8CA500E76A2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7FFD3064-E474-61F4-8143-7258E3DAF4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FFB0EF1-A20A-F2AA-6EF8-39F3A8C5150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05ED647B-B08B-E90E-A818-55923E277E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192634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951024" y="1576366"/>
            <a:ext cx="3913644" cy="2884249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Tx/>
              <a:buNone/>
              <a:defRPr sz="2000" b="1">
                <a:solidFill>
                  <a:schemeClr val="accent5"/>
                </a:solidFill>
              </a:defRPr>
            </a:lvl1pPr>
            <a:lvl2pPr marL="4763" indent="0">
              <a:buClr>
                <a:schemeClr val="accent5"/>
              </a:buClr>
              <a:buFontTx/>
              <a:buNone/>
              <a:tabLst/>
              <a:defRPr sz="1800">
                <a:solidFill>
                  <a:schemeClr val="tx1"/>
                </a:solidFill>
              </a:defRPr>
            </a:lvl2pPr>
            <a:lvl3pPr marL="685800" indent="0">
              <a:buClr>
                <a:schemeClr val="accent5"/>
              </a:buClr>
              <a:buFontTx/>
              <a:buNone/>
              <a:tabLst/>
              <a:defRPr sz="1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Clr>
                <a:schemeClr val="accent5"/>
              </a:buClr>
              <a:buFontTx/>
              <a:buNone/>
              <a:defRPr sz="11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Clr>
                <a:schemeClr val="accent5"/>
              </a:buClr>
              <a:buFontTx/>
              <a:buNone/>
              <a:defRPr sz="11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559300" cy="51435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949749" y="274639"/>
            <a:ext cx="3904650" cy="782265"/>
          </a:xfrm>
        </p:spPr>
        <p:txBody>
          <a:bodyPr/>
          <a:lstStyle>
            <a:lvl1pPr>
              <a:lnSpc>
                <a:spcPct val="90000"/>
              </a:lnSpc>
              <a:defRPr sz="2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949749" y="1112100"/>
            <a:ext cx="3904650" cy="243662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accent5"/>
                </a:solidFill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2A73945-33CC-F9B9-EB23-DEF3FCE42A85}"/>
              </a:ext>
            </a:extLst>
          </p:cNvPr>
          <p:cNvGrpSpPr/>
          <p:nvPr userDrawn="1"/>
        </p:nvGrpSpPr>
        <p:grpSpPr>
          <a:xfrm>
            <a:off x="-557561" y="359229"/>
            <a:ext cx="483220" cy="1051560"/>
            <a:chOff x="-557561" y="359229"/>
            <a:chExt cx="483220" cy="1051560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64809B2E-CFAC-B3C5-5F3C-2AA83E6F29A6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DDAAE5C6-983D-2653-7CC5-D09E56382D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8DC8947F-3F66-8967-8B4D-3A7534A8B6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1D684FBB-3D01-8FB5-C4DE-A349CB83483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FC5210E3-7A77-306E-3E14-F919C8EA49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E80D779B-124F-5B52-B3FA-C53897AD37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9BA251FC-90F2-D64E-90F7-571A95ED6A0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C388E1A-D35C-F812-FB20-55741118235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C68416C1-53ED-5875-65A3-3A084137E7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13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2 (scatterpl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4A2C79F-4FDE-1374-DCEF-A5855A72545B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Picture 17" descr="Background pattern&#10;&#10;Description automatically generated">
            <a:extLst>
              <a:ext uri="{FF2B5EF4-FFF2-40B4-BE49-F238E27FC236}">
                <a16:creationId xmlns:a16="http://schemas.microsoft.com/office/drawing/2014/main" id="{331A993D-36E8-0552-BFE8-307A46BA9C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6017"/>
          <a:stretch/>
        </p:blipFill>
        <p:spPr>
          <a:xfrm>
            <a:off x="4815039" y="6365"/>
            <a:ext cx="4328961" cy="4818931"/>
          </a:xfrm>
          <a:prstGeom prst="rect">
            <a:avLst/>
          </a:prstGeom>
        </p:spPr>
      </p:pic>
      <p:pic>
        <p:nvPicPr>
          <p:cNvPr id="25" name="Picture 24" descr="Background pattern&#10;&#10;Description automatically generated">
            <a:extLst>
              <a:ext uri="{FF2B5EF4-FFF2-40B4-BE49-F238E27FC236}">
                <a16:creationId xmlns:a16="http://schemas.microsoft.com/office/drawing/2014/main" id="{AB69F46E-2C19-F8A7-8B1B-C15946090C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8397" t="66381" r="-2380" b="-5037"/>
          <a:stretch/>
        </p:blipFill>
        <p:spPr>
          <a:xfrm rot="10800000">
            <a:off x="5036705" y="3274315"/>
            <a:ext cx="4328961" cy="1862819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04AE1E-8C2B-7E34-85BB-2E9CAD03532F}"/>
              </a:ext>
            </a:extLst>
          </p:cNvPr>
          <p:cNvSpPr/>
          <p:nvPr userDrawn="1"/>
        </p:nvSpPr>
        <p:spPr>
          <a:xfrm>
            <a:off x="343760" y="0"/>
            <a:ext cx="1368162" cy="948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321215C-7028-1F46-648B-41B63AFF535A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5ACD67F-C09F-9EBC-6D77-A1A3E7668F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820C428-4A26-ADCA-A05D-3D2EAB2E91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09B0B4C-AEE4-93A5-0EAA-7310954E6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1448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61CCEB7-395F-A2F8-38A8-792D214BA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1448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39A28AD-D96C-7173-3690-5EB980538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295" y="1357934"/>
            <a:ext cx="4601106" cy="1483971"/>
          </a:xfrm>
        </p:spPr>
        <p:txBody>
          <a:bodyPr vert="horz" anchor="b"/>
          <a:lstStyle>
            <a:lvl1pPr rtl="0">
              <a:lnSpc>
                <a:spcPct val="90000"/>
              </a:lnSpc>
              <a:defRPr sz="3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8260EDE-3AA4-23F2-EA45-5CEB259EA8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2918099"/>
            <a:ext cx="4601107" cy="26846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F139A4EF-3152-2D46-E7EE-A9A3D6AEE2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4294" y="4724444"/>
            <a:ext cx="3697432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A3046AE-281E-A19A-A1CD-AB5FF85173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6075" y="479791"/>
            <a:ext cx="1103531" cy="384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16490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stone)">
    <p:bg>
      <p:bgPr>
        <a:gradFill flip="none" rotWithShape="1">
          <a:gsLst>
            <a:gs pos="9000">
              <a:srgbClr val="FFFFFF"/>
            </a:gs>
            <a:gs pos="94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C44CE92-5FCB-E815-FE64-0EBAC5545841}"/>
              </a:ext>
            </a:extLst>
          </p:cNvPr>
          <p:cNvSpPr/>
          <p:nvPr userDrawn="1"/>
        </p:nvSpPr>
        <p:spPr>
          <a:xfrm>
            <a:off x="0" y="0"/>
            <a:ext cx="9144000" cy="4631517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95000"/>
                </a:schemeClr>
              </a:gs>
              <a:gs pos="23000">
                <a:schemeClr val="bg1">
                  <a:lumMod val="92000"/>
                </a:schemeClr>
              </a:gs>
              <a:gs pos="68000">
                <a:schemeClr val="bg1">
                  <a:lumMod val="90000"/>
                </a:schemeClr>
              </a:gs>
              <a:gs pos="96000">
                <a:schemeClr val="bg1">
                  <a:lumMod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4631517"/>
            <a:ext cx="9144000" cy="51198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4295" y="1100376"/>
            <a:ext cx="4070304" cy="1757287"/>
          </a:xfrm>
        </p:spPr>
        <p:txBody>
          <a:bodyPr anchor="b"/>
          <a:lstStyle>
            <a:lvl1pPr>
              <a:lnSpc>
                <a:spcPct val="90000"/>
              </a:lnSpc>
              <a:defRPr sz="36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4294" y="2857663"/>
            <a:ext cx="4070303" cy="854178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accent5"/>
                </a:solidFill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713C83F-F5EB-CF4B-9886-DA96D760E0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2A3A037D-7B91-BAE0-4797-B02EE07678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540" b="25592"/>
          <a:stretch/>
        </p:blipFill>
        <p:spPr>
          <a:xfrm>
            <a:off x="4956723" y="804333"/>
            <a:ext cx="4187278" cy="382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541873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tanzani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B11B86A-3463-2F78-8EFB-7554D2E57A93}"/>
              </a:ext>
            </a:extLst>
          </p:cNvPr>
          <p:cNvSpPr/>
          <p:nvPr userDrawn="1"/>
        </p:nvSpPr>
        <p:spPr>
          <a:xfrm>
            <a:off x="0" y="0"/>
            <a:ext cx="9144000" cy="4631517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4631517"/>
            <a:ext cx="9144000" cy="51198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9433" y="-1"/>
            <a:ext cx="4564567" cy="514350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4295" y="1100376"/>
            <a:ext cx="4070304" cy="1757287"/>
          </a:xfrm>
        </p:spPr>
        <p:txBody>
          <a:bodyPr anchor="b"/>
          <a:lstStyle>
            <a:lvl1pPr>
              <a:lnSpc>
                <a:spcPct val="90000"/>
              </a:lnSpc>
              <a:defRPr sz="36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4294" y="2857663"/>
            <a:ext cx="4070303" cy="854178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8E33194-8100-5044-B6B6-68F1EE1CC15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9834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38B2842-E0FD-8F9D-CF91-37A6904C178B}"/>
              </a:ext>
            </a:extLst>
          </p:cNvPr>
          <p:cNvSpPr/>
          <p:nvPr userDrawn="1"/>
        </p:nvSpPr>
        <p:spPr>
          <a:xfrm>
            <a:off x="0" y="0"/>
            <a:ext cx="9144000" cy="463151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4631517"/>
            <a:ext cx="9144000" cy="51198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186" t="8450" r="9800" b="9292"/>
          <a:stretch/>
        </p:blipFill>
        <p:spPr>
          <a:xfrm>
            <a:off x="4310884" y="0"/>
            <a:ext cx="4833116" cy="51435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4295" y="1100376"/>
            <a:ext cx="4070304" cy="1757287"/>
          </a:xfrm>
        </p:spPr>
        <p:txBody>
          <a:bodyPr anchor="b"/>
          <a:lstStyle>
            <a:lvl1pPr>
              <a:lnSpc>
                <a:spcPct val="90000"/>
              </a:lnSpc>
              <a:defRPr sz="36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4294" y="2857663"/>
            <a:ext cx="4070303" cy="854178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5895CE6-5949-7943-B822-4FED05E1CE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779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C362406-1FC3-D088-8059-E3918A4272EF}"/>
              </a:ext>
            </a:extLst>
          </p:cNvPr>
          <p:cNvSpPr/>
          <p:nvPr userDrawn="1"/>
        </p:nvSpPr>
        <p:spPr>
          <a:xfrm>
            <a:off x="0" y="0"/>
            <a:ext cx="9144000" cy="4631517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89000"/>
                </a:schemeClr>
              </a:gs>
              <a:gs pos="23000">
                <a:schemeClr val="accent2">
                  <a:lumMod val="89000"/>
                </a:schemeClr>
              </a:gs>
              <a:gs pos="69000">
                <a:schemeClr val="accent2">
                  <a:lumMod val="75000"/>
                </a:schemeClr>
              </a:gs>
              <a:gs pos="97000">
                <a:schemeClr val="accent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4631517"/>
            <a:ext cx="9144000" cy="51198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4295" y="1100376"/>
            <a:ext cx="4070304" cy="1757287"/>
          </a:xfrm>
        </p:spPr>
        <p:txBody>
          <a:bodyPr anchor="b"/>
          <a:lstStyle>
            <a:lvl1pPr>
              <a:lnSpc>
                <a:spcPct val="90000"/>
              </a:lnSpc>
              <a:defRPr sz="36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4294" y="2857663"/>
            <a:ext cx="4070303" cy="854178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24B234D-A621-804E-BFA4-026C6CB10AF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pic>
        <p:nvPicPr>
          <p:cNvPr id="9" name="Picture 8" descr="Chart&#10;&#10;Description automatically generated">
            <a:extLst>
              <a:ext uri="{FF2B5EF4-FFF2-40B4-BE49-F238E27FC236}">
                <a16:creationId xmlns:a16="http://schemas.microsoft.com/office/drawing/2014/main" id="{241CC10C-69F7-A230-3CD8-78C57F2F9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349" b="8396"/>
          <a:stretch/>
        </p:blipFill>
        <p:spPr>
          <a:xfrm>
            <a:off x="2827867" y="1979019"/>
            <a:ext cx="6316134" cy="2652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153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3CC8ED4-4CCA-405F-BF19-05E074E4BB5C}"/>
              </a:ext>
            </a:extLst>
          </p:cNvPr>
          <p:cNvSpPr/>
          <p:nvPr userDrawn="1"/>
        </p:nvSpPr>
        <p:spPr>
          <a:xfrm>
            <a:off x="0" y="0"/>
            <a:ext cx="9144000" cy="4631517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95000"/>
                </a:schemeClr>
              </a:gs>
              <a:gs pos="23000">
                <a:schemeClr val="bg1">
                  <a:lumMod val="92000"/>
                </a:schemeClr>
              </a:gs>
              <a:gs pos="68000">
                <a:schemeClr val="bg1">
                  <a:lumMod val="90000"/>
                </a:schemeClr>
              </a:gs>
              <a:gs pos="96000">
                <a:schemeClr val="bg1">
                  <a:lumMod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9144000" cy="461726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4631517"/>
            <a:ext cx="9144000" cy="51198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886015" y="1170260"/>
            <a:ext cx="7371970" cy="2405637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4800" b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52131" y="3623148"/>
            <a:ext cx="3439739" cy="276999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000" cap="none" baseline="0">
                <a:solidFill>
                  <a:schemeClr val="accent5"/>
                </a:solidFill>
              </a:defRPr>
            </a:lvl1pPr>
            <a:lvl2pPr marL="457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1C5E3B0-75F7-1B42-A2F1-511E202ECF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453513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45C6871-A9E2-79A7-BC86-B7BB7F3A90C3}"/>
              </a:ext>
            </a:extLst>
          </p:cNvPr>
          <p:cNvSpPr/>
          <p:nvPr userDrawn="1"/>
        </p:nvSpPr>
        <p:spPr>
          <a:xfrm>
            <a:off x="0" y="0"/>
            <a:ext cx="9144000" cy="4631517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4631517"/>
            <a:ext cx="9144000" cy="51198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86015" y="1170260"/>
            <a:ext cx="7371970" cy="2405637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48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52131" y="3623148"/>
            <a:ext cx="3439739" cy="276999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000" cap="none" baseline="0">
                <a:solidFill>
                  <a:srgbClr val="FFFFFF"/>
                </a:solidFill>
              </a:defRPr>
            </a:lvl1pPr>
            <a:lvl2pPr marL="457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CAEFF0-503E-7944-8B2D-FA7DD9A71A7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64EAF3-C38E-999F-EB73-46609447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9144000" cy="4617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646245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318B8DD-44E9-C0AF-1057-D4BC66B15DD8}"/>
              </a:ext>
            </a:extLst>
          </p:cNvPr>
          <p:cNvSpPr/>
          <p:nvPr userDrawn="1"/>
        </p:nvSpPr>
        <p:spPr>
          <a:xfrm>
            <a:off x="0" y="0"/>
            <a:ext cx="9144000" cy="463998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0000"/>
                </a:schemeClr>
              </a:gs>
              <a:gs pos="22000">
                <a:schemeClr val="accent1">
                  <a:lumMod val="90000"/>
                </a:schemeClr>
              </a:gs>
              <a:gs pos="69000">
                <a:schemeClr val="accent1">
                  <a:lumMod val="75000"/>
                </a:schemeClr>
              </a:gs>
              <a:gs pos="96000">
                <a:schemeClr val="tx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4631517"/>
            <a:ext cx="9144000" cy="51198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86015" y="1170260"/>
            <a:ext cx="7371970" cy="2405637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48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52131" y="3623148"/>
            <a:ext cx="3439739" cy="276999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000" cap="none" baseline="0">
                <a:solidFill>
                  <a:srgbClr val="FFFFFF"/>
                </a:solidFill>
              </a:defRPr>
            </a:lvl1pPr>
            <a:lvl2pPr marL="457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CEECE93-96F2-5947-8A40-C80576FF02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0A39848-370D-6FB6-0C4D-EDE59658F2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9144000" cy="4617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907487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96DC852-3713-D91D-3C84-F22F2B642A2F}"/>
              </a:ext>
            </a:extLst>
          </p:cNvPr>
          <p:cNvSpPr/>
          <p:nvPr userDrawn="1"/>
        </p:nvSpPr>
        <p:spPr>
          <a:xfrm>
            <a:off x="0" y="0"/>
            <a:ext cx="9144000" cy="4615393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89000"/>
                </a:schemeClr>
              </a:gs>
              <a:gs pos="23000">
                <a:schemeClr val="accent2">
                  <a:lumMod val="89000"/>
                </a:schemeClr>
              </a:gs>
              <a:gs pos="69000">
                <a:schemeClr val="accent2">
                  <a:lumMod val="75000"/>
                </a:schemeClr>
              </a:gs>
              <a:gs pos="97000">
                <a:schemeClr val="accent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68" t="18056" r="3162"/>
          <a:stretch/>
        </p:blipFill>
        <p:spPr>
          <a:xfrm>
            <a:off x="1" y="0"/>
            <a:ext cx="9144000" cy="461539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4631517"/>
            <a:ext cx="9144000" cy="51198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86015" y="1195348"/>
            <a:ext cx="7371970" cy="2355460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48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52131" y="3623148"/>
            <a:ext cx="3439739" cy="276999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000" cap="none" baseline="0">
                <a:solidFill>
                  <a:srgbClr val="FFFFFF"/>
                </a:solidFill>
              </a:defRPr>
            </a:lvl1pPr>
            <a:lvl2pPr marL="457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A1D5A82-A652-4746-A0AC-8ECDBDB7AB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819826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5868D43-C6E2-89DB-62DC-6C5950958D8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02134" y="3604193"/>
            <a:ext cx="5539733" cy="368686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000" b="1" cap="none" baseline="0">
                <a:solidFill>
                  <a:srgbClr val="FFFFFF"/>
                </a:solidFill>
              </a:defRPr>
            </a:lvl1pPr>
            <a:lvl2pPr marL="457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802133" y="3995323"/>
            <a:ext cx="5539733" cy="351824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1800">
                <a:solidFill>
                  <a:srgbClr val="FFFFFF"/>
                </a:solidFill>
              </a:defRPr>
            </a:lvl1pPr>
            <a:lvl2pPr marL="342900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1028700" indent="0" algn="ctr">
              <a:buFontTx/>
              <a:buNone/>
              <a:defRPr/>
            </a:lvl4pPr>
            <a:lvl5pPr marL="1371600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8D09C3E-C416-083D-118D-24B7356D7F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1683" b="30783"/>
          <a:stretch/>
        </p:blipFill>
        <p:spPr>
          <a:xfrm>
            <a:off x="3192808" y="1626195"/>
            <a:ext cx="2758384" cy="131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588491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69A13E5-0E23-154A-46DE-D971DC9EAA88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02134" y="3604193"/>
            <a:ext cx="5539733" cy="368686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000" b="1" cap="none" baseline="0">
                <a:solidFill>
                  <a:srgbClr val="FFFFFF"/>
                </a:solidFill>
              </a:defRPr>
            </a:lvl1pPr>
            <a:lvl2pPr marL="457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802133" y="3995323"/>
            <a:ext cx="5539733" cy="351824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1800">
                <a:solidFill>
                  <a:srgbClr val="FFFFFF"/>
                </a:solidFill>
              </a:defRPr>
            </a:lvl1pPr>
            <a:lvl2pPr marL="342900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1028700" indent="0" algn="ctr">
              <a:buFontTx/>
              <a:buNone/>
              <a:defRPr/>
            </a:lvl4pPr>
            <a:lvl5pPr marL="1371600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58B8535-736D-E3B1-6EF6-79509220B5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1683" b="30783"/>
          <a:stretch/>
        </p:blipFill>
        <p:spPr>
          <a:xfrm>
            <a:off x="3192808" y="1626195"/>
            <a:ext cx="2758384" cy="131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3220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2 (man - scatterpl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4A2C79F-4FDE-1374-DCEF-A5855A72545B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Picture 17" descr="Background pattern&#10;&#10;Description automatically generated">
            <a:extLst>
              <a:ext uri="{FF2B5EF4-FFF2-40B4-BE49-F238E27FC236}">
                <a16:creationId xmlns:a16="http://schemas.microsoft.com/office/drawing/2014/main" id="{331A993D-36E8-0552-BFE8-307A46BA9C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6017"/>
          <a:stretch/>
        </p:blipFill>
        <p:spPr>
          <a:xfrm>
            <a:off x="4815039" y="6365"/>
            <a:ext cx="4328961" cy="4818931"/>
          </a:xfrm>
          <a:prstGeom prst="rect">
            <a:avLst/>
          </a:prstGeom>
        </p:spPr>
      </p:pic>
      <p:pic>
        <p:nvPicPr>
          <p:cNvPr id="25" name="Picture 24" descr="Background pattern&#10;&#10;Description automatically generated">
            <a:extLst>
              <a:ext uri="{FF2B5EF4-FFF2-40B4-BE49-F238E27FC236}">
                <a16:creationId xmlns:a16="http://schemas.microsoft.com/office/drawing/2014/main" id="{AB69F46E-2C19-F8A7-8B1B-C15946090C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8397" t="66381" r="-2380" b="-5037"/>
          <a:stretch/>
        </p:blipFill>
        <p:spPr>
          <a:xfrm rot="10800000">
            <a:off x="5036705" y="3274315"/>
            <a:ext cx="4328961" cy="1862819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04AE1E-8C2B-7E34-85BB-2E9CAD03532F}"/>
              </a:ext>
            </a:extLst>
          </p:cNvPr>
          <p:cNvSpPr/>
          <p:nvPr userDrawn="1"/>
        </p:nvSpPr>
        <p:spPr>
          <a:xfrm>
            <a:off x="343760" y="0"/>
            <a:ext cx="1368162" cy="948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321215C-7028-1F46-648B-41B63AFF535A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5ACD67F-C09F-9EBC-6D77-A1A3E7668F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820C428-4A26-ADCA-A05D-3D2EAB2E91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09B0B4C-AEE4-93A5-0EAA-7310954E6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1448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61CCEB7-395F-A2F8-38A8-792D214BA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1448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39A28AD-D96C-7173-3690-5EB980538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295" y="1357934"/>
            <a:ext cx="4601106" cy="1483971"/>
          </a:xfrm>
        </p:spPr>
        <p:txBody>
          <a:bodyPr vert="horz" anchor="b"/>
          <a:lstStyle>
            <a:lvl1pPr rtl="0">
              <a:lnSpc>
                <a:spcPct val="90000"/>
              </a:lnSpc>
              <a:defRPr sz="3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8260EDE-3AA4-23F2-EA45-5CEB259EA8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2918099"/>
            <a:ext cx="4601107" cy="26846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F139A4EF-3152-2D46-E7EE-A9A3D6AEE2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4294" y="4724444"/>
            <a:ext cx="3697432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A3046AE-281E-A19A-A1CD-AB5FF85173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6075" y="479791"/>
            <a:ext cx="1103531" cy="384102"/>
          </a:xfrm>
          <a:prstGeom prst="rect">
            <a:avLst/>
          </a:prstGeom>
        </p:spPr>
      </p:pic>
      <p:pic>
        <p:nvPicPr>
          <p:cNvPr id="4" name="Picture 3" descr="A picture containing person, person, standing, dark&#10;&#10;Description automatically generated">
            <a:extLst>
              <a:ext uri="{FF2B5EF4-FFF2-40B4-BE49-F238E27FC236}">
                <a16:creationId xmlns:a16="http://schemas.microsoft.com/office/drawing/2014/main" id="{1ECA5C58-C984-2E78-B9F6-3BEB2CF158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28754" y="778932"/>
            <a:ext cx="3294409" cy="436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777798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(Bubbl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FC6CBF31-6F89-0C5D-1D8D-A5F72A5026FD}"/>
              </a:ext>
            </a:extLst>
          </p:cNvPr>
          <p:cNvSpPr/>
          <p:nvPr userDrawn="1"/>
        </p:nvSpPr>
        <p:spPr>
          <a:xfrm>
            <a:off x="0" y="1035424"/>
            <a:ext cx="9144000" cy="41080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407780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/>
          <p:cNvSpPr txBox="1">
            <a:spLocks/>
          </p:cNvSpPr>
          <p:nvPr/>
        </p:nvSpPr>
        <p:spPr>
          <a:xfrm>
            <a:off x="8581835" y="4754564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96ACFF-8824-394E-92C3-C9BE4A7A6116}"/>
              </a:ext>
            </a:extLst>
          </p:cNvPr>
          <p:cNvSpPr txBox="1">
            <a:spLocks/>
          </p:cNvSpPr>
          <p:nvPr userDrawn="1"/>
        </p:nvSpPr>
        <p:spPr>
          <a:xfrm>
            <a:off x="8581835" y="4754564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7780682-D1DA-9FA7-0C64-53AB921B3E8D}"/>
              </a:ext>
            </a:extLst>
          </p:cNvPr>
          <p:cNvSpPr/>
          <p:nvPr userDrawn="1"/>
        </p:nvSpPr>
        <p:spPr>
          <a:xfrm>
            <a:off x="453864" y="1623327"/>
            <a:ext cx="2187658" cy="2187658"/>
          </a:xfrm>
          <a:prstGeom prst="ellipse">
            <a:avLst/>
          </a:prstGeom>
          <a:solidFill>
            <a:srgbClr val="0098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8CB5B7F-2AE1-7241-AB15-A145D7FDD2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64" y="1988286"/>
            <a:ext cx="1942818" cy="1373831"/>
          </a:xfrm>
        </p:spPr>
        <p:txBody>
          <a:bodyPr tIns="0" bIns="0" anchor="ctr">
            <a:noAutofit/>
          </a:bodyPr>
          <a:lstStyle>
            <a:lvl1pPr mar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charset="0"/>
              <a:buNone/>
              <a:tabLst/>
              <a:defRPr sz="180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1770" indent="-115885">
              <a:lnSpc>
                <a:spcPct val="75000"/>
              </a:lnSpc>
              <a:buClr>
                <a:schemeClr val="accent5"/>
              </a:buClr>
              <a:tabLst/>
              <a:defRPr sz="1200">
                <a:solidFill>
                  <a:schemeClr val="accent5"/>
                </a:solidFill>
              </a:defRPr>
            </a:lvl2pPr>
            <a:lvl3pPr marL="320032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System Font Regular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F052369-865E-7881-61D9-BFFA4DB53077}"/>
              </a:ext>
            </a:extLst>
          </p:cNvPr>
          <p:cNvSpPr/>
          <p:nvPr userDrawn="1"/>
        </p:nvSpPr>
        <p:spPr>
          <a:xfrm>
            <a:off x="2571834" y="925146"/>
            <a:ext cx="2187658" cy="21876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C3C0CFF-B0AA-B942-0AAA-EE8C9F7044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75751" y="1312708"/>
            <a:ext cx="1954240" cy="1348445"/>
          </a:xfrm>
        </p:spPr>
        <p:txBody>
          <a:bodyPr tIns="0" bIns="0" anchor="ctr">
            <a:noAutofit/>
          </a:bodyPr>
          <a:lstStyle>
            <a:lvl1pPr mar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charset="0"/>
              <a:buNone/>
              <a:tabLst/>
              <a:defRPr sz="180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1770" indent="-115885">
              <a:lnSpc>
                <a:spcPct val="75000"/>
              </a:lnSpc>
              <a:buClr>
                <a:schemeClr val="accent5"/>
              </a:buClr>
              <a:tabLst/>
              <a:defRPr sz="1200">
                <a:solidFill>
                  <a:schemeClr val="accent5"/>
                </a:solidFill>
              </a:defRPr>
            </a:lvl2pPr>
            <a:lvl3pPr marL="320032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System Font Regular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1D13911-3016-53D2-50DA-0E6D7F7EC484}"/>
              </a:ext>
            </a:extLst>
          </p:cNvPr>
          <p:cNvSpPr/>
          <p:nvPr userDrawn="1"/>
        </p:nvSpPr>
        <p:spPr>
          <a:xfrm>
            <a:off x="4219941" y="2406537"/>
            <a:ext cx="2187658" cy="218765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0AAAECD-EF08-DF5D-ECAA-57E1839E8F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7913" y="2766197"/>
            <a:ext cx="1945128" cy="1379781"/>
          </a:xfrm>
        </p:spPr>
        <p:txBody>
          <a:bodyPr tIns="0" bIns="0" anchor="ctr">
            <a:noAutofit/>
          </a:bodyPr>
          <a:lstStyle>
            <a:lvl1pPr mar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charset="0"/>
              <a:buNone/>
              <a:tabLst/>
              <a:defRPr sz="180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1770" indent="-115885">
              <a:lnSpc>
                <a:spcPct val="75000"/>
              </a:lnSpc>
              <a:buClr>
                <a:schemeClr val="accent5"/>
              </a:buClr>
              <a:tabLst/>
              <a:defRPr sz="1200">
                <a:solidFill>
                  <a:schemeClr val="accent5"/>
                </a:solidFill>
              </a:defRPr>
            </a:lvl2pPr>
            <a:lvl3pPr marL="320032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System Font Regular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9FBAF1B-CE70-3EF2-81F2-B3846FDFB082}"/>
              </a:ext>
            </a:extLst>
          </p:cNvPr>
          <p:cNvSpPr/>
          <p:nvPr userDrawn="1"/>
        </p:nvSpPr>
        <p:spPr>
          <a:xfrm>
            <a:off x="6281381" y="1567323"/>
            <a:ext cx="2187658" cy="218765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13E8B0F-6BD7-38C1-6F22-F08ED69F6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0381" y="1962560"/>
            <a:ext cx="1942818" cy="1339825"/>
          </a:xfrm>
        </p:spPr>
        <p:txBody>
          <a:bodyPr tIns="0" bIns="0" anchor="ctr">
            <a:noAutofit/>
          </a:bodyPr>
          <a:lstStyle>
            <a:lvl1pPr mar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charset="0"/>
              <a:buNone/>
              <a:tabLst/>
              <a:defRPr sz="180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31770" indent="-115885">
              <a:lnSpc>
                <a:spcPct val="75000"/>
              </a:lnSpc>
              <a:buClr>
                <a:schemeClr val="accent5"/>
              </a:buClr>
              <a:tabLst/>
              <a:defRPr sz="1200">
                <a:solidFill>
                  <a:schemeClr val="accent5"/>
                </a:solidFill>
              </a:defRPr>
            </a:lvl2pPr>
            <a:lvl3pPr marL="320032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System Font Regular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B1E5784A-9171-13ED-1B92-064A73C86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295" y="274640"/>
            <a:ext cx="5833616" cy="432250"/>
          </a:xfrm>
        </p:spPr>
        <p:txBody>
          <a:bodyPr vert="horz"/>
          <a:lstStyle>
            <a:lvl1pPr rtl="0">
              <a:lnSpc>
                <a:spcPct val="90000"/>
              </a:lnSpc>
              <a:defRPr sz="28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040109CE-6B95-E023-791C-B8D251C90D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300" y="4745168"/>
            <a:ext cx="551688" cy="19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210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3 (LargeP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C8D9EE5-912B-8A7E-B1A3-867A4129DBC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B91A13D-1FF3-CAA8-6D60-C2F7C3467D93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3AC078-FC52-C9A7-DD4D-664A1099F0B2}"/>
              </a:ext>
            </a:extLst>
          </p:cNvPr>
          <p:cNvSpPr/>
          <p:nvPr userDrawn="1"/>
        </p:nvSpPr>
        <p:spPr>
          <a:xfrm>
            <a:off x="343760" y="0"/>
            <a:ext cx="1368162" cy="948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7E0B6EF-9FE5-3ABD-D01A-3EA55157571B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C33C8E9-ECA9-9B9D-4EB8-147683811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AA6E68C-A2CB-1C62-7EDC-C762E7C1BA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71884577-5178-B66C-7379-E082BEDB12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1448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C7C9152D-E530-5E14-9F3A-EE681761CE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1448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51BA8004-4AB3-AE2A-C388-40151D40D5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295" y="1357934"/>
            <a:ext cx="4601106" cy="1483971"/>
          </a:xfrm>
        </p:spPr>
        <p:txBody>
          <a:bodyPr vert="horz" anchor="b"/>
          <a:lstStyle>
            <a:lvl1pPr rtl="0">
              <a:lnSpc>
                <a:spcPct val="90000"/>
              </a:lnSpc>
              <a:defRPr sz="3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4382241-E7AB-CB61-77D6-D3D937EF5C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2918099"/>
            <a:ext cx="4601107" cy="26846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7A0CF601-A234-F58C-A19B-D80BD7ABEA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4294" y="4724444"/>
            <a:ext cx="3697432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1D181C7-3648-FC85-3C34-D7E98541BA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6075" y="479791"/>
            <a:ext cx="1103531" cy="3841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77BC26CC-47B8-9A1C-5AEF-E0591AEE041D}"/>
              </a:ext>
            </a:extLst>
          </p:cNvPr>
          <p:cNvGrpSpPr/>
          <p:nvPr userDrawn="1"/>
        </p:nvGrpSpPr>
        <p:grpSpPr>
          <a:xfrm>
            <a:off x="4688478" y="70738"/>
            <a:ext cx="4455522" cy="5072762"/>
            <a:chOff x="4688478" y="70738"/>
            <a:chExt cx="4455522" cy="5072762"/>
          </a:xfrm>
        </p:grpSpPr>
        <p:pic>
          <p:nvPicPr>
            <p:cNvPr id="21" name="Picture 20" descr="Icon&#10;&#10;Description automatically generated">
              <a:extLst>
                <a:ext uri="{FF2B5EF4-FFF2-40B4-BE49-F238E27FC236}">
                  <a16:creationId xmlns:a16="http://schemas.microsoft.com/office/drawing/2014/main" id="{F8804BDE-24AB-D48E-9448-8AA68AD38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706020" y="70738"/>
              <a:ext cx="4437980" cy="5072762"/>
            </a:xfrm>
            <a:prstGeom prst="rect">
              <a:avLst/>
            </a:prstGeom>
          </p:spPr>
        </p:pic>
        <p:pic>
          <p:nvPicPr>
            <p:cNvPr id="23" name="Picture 22" descr="Icon&#10;&#10;Description automatically generated">
              <a:extLst>
                <a:ext uri="{FF2B5EF4-FFF2-40B4-BE49-F238E27FC236}">
                  <a16:creationId xmlns:a16="http://schemas.microsoft.com/office/drawing/2014/main" id="{1F8E5AC6-00E0-4A1E-A482-8D156DBA9C0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688478" y="70738"/>
              <a:ext cx="4437980" cy="5072762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80C30BF7-29D8-9161-8B0F-7C999999154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706020" y="70738"/>
              <a:ext cx="4437980" cy="5072762"/>
            </a:xfrm>
            <a:prstGeom prst="rect">
              <a:avLst/>
            </a:prstGeom>
          </p:spPr>
        </p:pic>
      </p:grpSp>
      <p:sp>
        <p:nvSpPr>
          <p:cNvPr id="36" name="Oval 35">
            <a:extLst>
              <a:ext uri="{FF2B5EF4-FFF2-40B4-BE49-F238E27FC236}">
                <a16:creationId xmlns:a16="http://schemas.microsoft.com/office/drawing/2014/main" id="{00423CDA-13BF-156F-CBFE-E33C71F9D132}"/>
              </a:ext>
            </a:extLst>
          </p:cNvPr>
          <p:cNvSpPr/>
          <p:nvPr userDrawn="1"/>
        </p:nvSpPr>
        <p:spPr>
          <a:xfrm>
            <a:off x="6664620" y="2652618"/>
            <a:ext cx="1573305" cy="157330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787242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3 (man - LargeP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71AF5746-B5DF-8D56-8DEC-366F2CBB8603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6344B55-C432-F2E3-8CEC-87D35A97BE3E}"/>
              </a:ext>
            </a:extLst>
          </p:cNvPr>
          <p:cNvSpPr/>
          <p:nvPr userDrawn="1"/>
        </p:nvSpPr>
        <p:spPr>
          <a:xfrm>
            <a:off x="343760" y="0"/>
            <a:ext cx="1368162" cy="948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5C19C9F3-48CB-C33F-D1FD-ECDDA4C312E3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65E45E57-83B0-EE36-A9D4-96B8DCB4FF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752C3D64-7BC7-2DB6-FC78-0192593739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3F31017-2DD5-CA56-7C1B-817757B999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1448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90865323-A8E9-1693-0F91-CEA6BFC28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1448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B07E209F-B05A-F7D2-1047-44D3B2BBD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295" y="1160710"/>
            <a:ext cx="4131079" cy="1681196"/>
          </a:xfrm>
        </p:spPr>
        <p:txBody>
          <a:bodyPr vert="horz" anchor="b"/>
          <a:lstStyle>
            <a:lvl1pPr rtl="0">
              <a:lnSpc>
                <a:spcPct val="90000"/>
              </a:lnSpc>
              <a:defRPr sz="3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5C5CE534-405E-3DE7-2613-DB6831D941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2918099"/>
            <a:ext cx="4601107" cy="26846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1D83C248-7EAA-751E-9A5E-BBC20BEE38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4294" y="4724444"/>
            <a:ext cx="3697432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26460C3D-9C6C-7F61-FAF8-EF7F41567A7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6075" y="479791"/>
            <a:ext cx="1103531" cy="384102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1BAED23F-49E2-F3AC-0724-3AC8FE4EB029}"/>
              </a:ext>
            </a:extLst>
          </p:cNvPr>
          <p:cNvGrpSpPr/>
          <p:nvPr userDrawn="1"/>
        </p:nvGrpSpPr>
        <p:grpSpPr>
          <a:xfrm>
            <a:off x="4688478" y="70738"/>
            <a:ext cx="4455522" cy="5072762"/>
            <a:chOff x="4688478" y="70738"/>
            <a:chExt cx="4455522" cy="5072762"/>
          </a:xfrm>
        </p:grpSpPr>
        <p:pic>
          <p:nvPicPr>
            <p:cNvPr id="17" name="Picture 16" descr="Icon&#10;&#10;Description automatically generated">
              <a:extLst>
                <a:ext uri="{FF2B5EF4-FFF2-40B4-BE49-F238E27FC236}">
                  <a16:creationId xmlns:a16="http://schemas.microsoft.com/office/drawing/2014/main" id="{794F7797-BA4F-ED8B-2FE5-589B4CEA9C3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706020" y="70738"/>
              <a:ext cx="4437980" cy="5072762"/>
            </a:xfrm>
            <a:prstGeom prst="rect">
              <a:avLst/>
            </a:prstGeom>
          </p:spPr>
        </p:pic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77CBBFF6-4414-4991-6533-1305D6031A7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688478" y="70738"/>
              <a:ext cx="4437980" cy="5072762"/>
            </a:xfrm>
            <a:prstGeom prst="rect">
              <a:avLst/>
            </a:prstGeom>
          </p:spPr>
        </p:pic>
        <p:pic>
          <p:nvPicPr>
            <p:cNvPr id="23" name="Picture 22" descr="Icon&#10;&#10;Description automatically generated">
              <a:extLst>
                <a:ext uri="{FF2B5EF4-FFF2-40B4-BE49-F238E27FC236}">
                  <a16:creationId xmlns:a16="http://schemas.microsoft.com/office/drawing/2014/main" id="{867C4DB1-2CB1-2761-ACD3-A5EAB7411DF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706020" y="70738"/>
              <a:ext cx="4437980" cy="5072762"/>
            </a:xfrm>
            <a:prstGeom prst="rect">
              <a:avLst/>
            </a:prstGeom>
          </p:spPr>
        </p:pic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07CB7438-AD27-9D22-D7CC-5FBE084BF543}"/>
              </a:ext>
            </a:extLst>
          </p:cNvPr>
          <p:cNvSpPr/>
          <p:nvPr userDrawn="1"/>
        </p:nvSpPr>
        <p:spPr>
          <a:xfrm>
            <a:off x="6664620" y="2652618"/>
            <a:ext cx="1573305" cy="157330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25" name="Picture 24" descr="A person with his arms crossed&#10;&#10;Description automatically generated with medium confidence">
            <a:extLst>
              <a:ext uri="{FF2B5EF4-FFF2-40B4-BE49-F238E27FC236}">
                <a16:creationId xmlns:a16="http://schemas.microsoft.com/office/drawing/2014/main" id="{B46034BB-8A8C-0839-0B6C-027187665E3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1270" y="1524000"/>
            <a:ext cx="2787555" cy="3619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653287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022_Cover 3 (LargeP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621493-A484-AAAC-9213-8EBEEB6E2BE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Picture 9" descr="A picture containing light, green, scene, laser&#10;&#10;Description automatically generated">
            <a:extLst>
              <a:ext uri="{FF2B5EF4-FFF2-40B4-BE49-F238E27FC236}">
                <a16:creationId xmlns:a16="http://schemas.microsoft.com/office/drawing/2014/main" id="{7E49835F-BE63-A5CF-9940-0630A184E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5717" y="1053973"/>
            <a:ext cx="9034497" cy="408952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2EDCC8B-63E1-3B47-A69B-114D7CB87DE5}"/>
              </a:ext>
            </a:extLst>
          </p:cNvPr>
          <p:cNvSpPr/>
          <p:nvPr userDrawn="1"/>
        </p:nvSpPr>
        <p:spPr>
          <a:xfrm>
            <a:off x="0" y="0"/>
            <a:ext cx="5640404" cy="5143500"/>
          </a:xfrm>
          <a:prstGeom prst="rect">
            <a:avLst/>
          </a:prstGeom>
          <a:gradFill flip="none" rotWithShape="1">
            <a:gsLst>
              <a:gs pos="0">
                <a:srgbClr val="061928"/>
              </a:gs>
              <a:gs pos="97000">
                <a:schemeClr val="accent1">
                  <a:lumMod val="70000"/>
                  <a:alpha val="9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B91A13D-1FF3-CAA8-6D60-C2F7C3467D93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3AC078-FC52-C9A7-DD4D-664A1099F0B2}"/>
              </a:ext>
            </a:extLst>
          </p:cNvPr>
          <p:cNvSpPr/>
          <p:nvPr userDrawn="1"/>
        </p:nvSpPr>
        <p:spPr>
          <a:xfrm>
            <a:off x="343760" y="0"/>
            <a:ext cx="1368162" cy="948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7E0B6EF-9FE5-3ABD-D01A-3EA55157571B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C33C8E9-ECA9-9B9D-4EB8-147683811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AA6E68C-A2CB-1C62-7EDC-C762E7C1BA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71884577-5178-B66C-7379-E082BEDB12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1448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C7C9152D-E530-5E14-9F3A-EE681761CE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1448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51BA8004-4AB3-AE2A-C388-40151D40D5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295" y="1357934"/>
            <a:ext cx="4601106" cy="1483971"/>
          </a:xfrm>
        </p:spPr>
        <p:txBody>
          <a:bodyPr vert="horz" anchor="b"/>
          <a:lstStyle>
            <a:lvl1pPr rtl="0">
              <a:lnSpc>
                <a:spcPct val="90000"/>
              </a:lnSpc>
              <a:defRPr sz="3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4382241-E7AB-CB61-77D6-D3D937EF5C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2918099"/>
            <a:ext cx="4601107" cy="26846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7A0CF601-A234-F58C-A19B-D80BD7ABEA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4294" y="4724444"/>
            <a:ext cx="3697432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1D181C7-3648-FC85-3C34-D7E98541BA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6075" y="479791"/>
            <a:ext cx="1103531" cy="384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120716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022_Cover 3 (LargeP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7EE1649-F464-15A4-95E4-806CA6D0F9A9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Picture 6" descr="A picture containing light, green, scene, laser&#10;&#10;Description automatically generated">
            <a:extLst>
              <a:ext uri="{FF2B5EF4-FFF2-40B4-BE49-F238E27FC236}">
                <a16:creationId xmlns:a16="http://schemas.microsoft.com/office/drawing/2014/main" id="{90EBE764-2BE1-12AD-D772-36653B5B2C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5717" y="1053973"/>
            <a:ext cx="9034497" cy="408952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6A7849F-ED64-F545-55CE-D371A4E0B90F}"/>
              </a:ext>
            </a:extLst>
          </p:cNvPr>
          <p:cNvSpPr/>
          <p:nvPr userDrawn="1"/>
        </p:nvSpPr>
        <p:spPr>
          <a:xfrm>
            <a:off x="0" y="0"/>
            <a:ext cx="5640404" cy="5143500"/>
          </a:xfrm>
          <a:prstGeom prst="rect">
            <a:avLst/>
          </a:prstGeom>
          <a:gradFill flip="none" rotWithShape="1">
            <a:gsLst>
              <a:gs pos="0">
                <a:srgbClr val="061928"/>
              </a:gs>
              <a:gs pos="97000">
                <a:schemeClr val="accent1">
                  <a:lumMod val="70000"/>
                  <a:alpha val="9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B91A13D-1FF3-CAA8-6D60-C2F7C3467D93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3AC078-FC52-C9A7-DD4D-664A1099F0B2}"/>
              </a:ext>
            </a:extLst>
          </p:cNvPr>
          <p:cNvSpPr/>
          <p:nvPr userDrawn="1"/>
        </p:nvSpPr>
        <p:spPr>
          <a:xfrm>
            <a:off x="343760" y="0"/>
            <a:ext cx="1368162" cy="948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7E0B6EF-9FE5-3ABD-D01A-3EA55157571B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C33C8E9-ECA9-9B9D-4EB8-147683811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AA6E68C-A2CB-1C62-7EDC-C762E7C1BA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71884577-5178-B66C-7379-E082BEDB12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1448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C7C9152D-E530-5E14-9F3A-EE681761CE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1448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51BA8004-4AB3-AE2A-C388-40151D40D5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295" y="1357934"/>
            <a:ext cx="4601106" cy="1483971"/>
          </a:xfrm>
        </p:spPr>
        <p:txBody>
          <a:bodyPr vert="horz" anchor="b"/>
          <a:lstStyle>
            <a:lvl1pPr rtl="0">
              <a:lnSpc>
                <a:spcPct val="90000"/>
              </a:lnSpc>
              <a:defRPr sz="3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4382241-E7AB-CB61-77D6-D3D937EF5C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2918099"/>
            <a:ext cx="4601107" cy="26846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7A0CF601-A234-F58C-A19B-D80BD7ABEA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4294" y="4724444"/>
            <a:ext cx="3697432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1D181C7-3648-FC85-3C34-D7E98541BA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6075" y="479791"/>
            <a:ext cx="1103531" cy="384102"/>
          </a:xfrm>
          <a:prstGeom prst="rect">
            <a:avLst/>
          </a:prstGeom>
        </p:spPr>
      </p:pic>
      <p:pic>
        <p:nvPicPr>
          <p:cNvPr id="8" name="Picture 7" descr="A picture containing person, posing&#10;&#10;Description automatically generated">
            <a:extLst>
              <a:ext uri="{FF2B5EF4-FFF2-40B4-BE49-F238E27FC236}">
                <a16:creationId xmlns:a16="http://schemas.microsoft.com/office/drawing/2014/main" id="{63827D30-3E27-E8BC-A064-AE65D061417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9690" y="597528"/>
            <a:ext cx="3290015" cy="4545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280162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022_Cover 3 (LargeP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C8D9EE5-912B-8A7E-B1A3-867A4129DBCA}"/>
              </a:ext>
            </a:extLst>
          </p:cNvPr>
          <p:cNvSpPr/>
          <p:nvPr userDrawn="1"/>
        </p:nvSpPr>
        <p:spPr>
          <a:xfrm>
            <a:off x="18107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Picture 1" descr="A city lit up at night&#10;&#10;Description automatically generated with low confidence">
            <a:extLst>
              <a:ext uri="{FF2B5EF4-FFF2-40B4-BE49-F238E27FC236}">
                <a16:creationId xmlns:a16="http://schemas.microsoft.com/office/drawing/2014/main" id="{25BBD464-0F6B-C846-E354-1887FB57F2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36095"/>
            <a:ext cx="9162107" cy="360740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B355E07-5BB4-7E31-D0FE-D98191CD344D}"/>
              </a:ext>
            </a:extLst>
          </p:cNvPr>
          <p:cNvSpPr/>
          <p:nvPr userDrawn="1"/>
        </p:nvSpPr>
        <p:spPr>
          <a:xfrm>
            <a:off x="0" y="0"/>
            <a:ext cx="5640404" cy="5143500"/>
          </a:xfrm>
          <a:prstGeom prst="rect">
            <a:avLst/>
          </a:prstGeom>
          <a:gradFill flip="none" rotWithShape="1">
            <a:gsLst>
              <a:gs pos="0">
                <a:srgbClr val="061928"/>
              </a:gs>
              <a:gs pos="97000">
                <a:schemeClr val="accent1">
                  <a:lumMod val="70000"/>
                  <a:alpha val="9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B91A13D-1FF3-CAA8-6D60-C2F7C3467D93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3AC078-FC52-C9A7-DD4D-664A1099F0B2}"/>
              </a:ext>
            </a:extLst>
          </p:cNvPr>
          <p:cNvSpPr/>
          <p:nvPr userDrawn="1"/>
        </p:nvSpPr>
        <p:spPr>
          <a:xfrm>
            <a:off x="343760" y="0"/>
            <a:ext cx="1368162" cy="948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7E0B6EF-9FE5-3ABD-D01A-3EA55157571B}"/>
              </a:ext>
            </a:extLst>
          </p:cNvPr>
          <p:cNvSpPr txBox="1">
            <a:spLocks/>
          </p:cNvSpPr>
          <p:nvPr userDrawn="1"/>
        </p:nvSpPr>
        <p:spPr>
          <a:xfrm>
            <a:off x="628650" y="1776413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36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C33C8E9-ECA9-9B9D-4EB8-147683811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AA6E68C-A2CB-1C62-7EDC-C762E7C1BA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71884577-5178-B66C-7379-E082BEDB12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1448" y="3998134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C7C9152D-E530-5E14-9F3A-EE681761CE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1448" y="4225923"/>
            <a:ext cx="1847306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51BA8004-4AB3-AE2A-C388-40151D40D5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295" y="1357934"/>
            <a:ext cx="4601106" cy="1483971"/>
          </a:xfrm>
        </p:spPr>
        <p:txBody>
          <a:bodyPr vert="horz" anchor="b"/>
          <a:lstStyle>
            <a:lvl1pPr rtl="0">
              <a:lnSpc>
                <a:spcPct val="90000"/>
              </a:lnSpc>
              <a:defRPr sz="3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4382241-E7AB-CB61-77D6-D3D937EF5C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294" y="2918099"/>
            <a:ext cx="4601107" cy="26846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0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7A0CF601-A234-F58C-A19B-D80BD7ABEA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4294" y="4724444"/>
            <a:ext cx="3697432" cy="201705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0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1D181C7-3648-FC85-3C34-D7E98541BA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6075" y="479791"/>
            <a:ext cx="1103531" cy="384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319846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1495757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251" imgH="226" progId="TCLayout.ActiveDocument.1">
                  <p:embed/>
                </p:oleObj>
              </mc:Choice>
              <mc:Fallback>
                <p:oleObj name="think-cell Slide" r:id="rId43" imgW="251" imgH="2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04294" y="274639"/>
            <a:ext cx="8106305" cy="443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295" y="1021556"/>
            <a:ext cx="8106304" cy="3100387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GS Doctop Placeholder" hidden="1"/>
          <p:cNvSpPr txBox="1"/>
          <p:nvPr/>
        </p:nvSpPr>
        <p:spPr>
          <a:xfrm>
            <a:off x="546100" y="0"/>
            <a:ext cx="56515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 rtl="0"/>
            <a:r>
              <a:rPr lang="en-US" sz="800" b="0" i="0"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Arial" panose="020B0604020202020204" pitchFamily="34" charset="0"/>
              </a:rPr>
              <a:t>ibdroot\projects\IBD-NY\quilted2021\681345_1\01. PPT\2022.01.31 TTW\Management Presentation v76.pptx</a:t>
            </a:r>
          </a:p>
        </p:txBody>
      </p:sp>
      <p:sp>
        <p:nvSpPr>
          <p:cNvPr id="6" name="GS Doctop Placeholder" hidden="1">
            <a:extLst>
              <a:ext uri="{FF2B5EF4-FFF2-40B4-BE49-F238E27FC236}">
                <a16:creationId xmlns:a16="http://schemas.microsoft.com/office/drawing/2014/main" id="{78FFD7DC-7979-1A42-8E53-C9E70A66DBE5}"/>
              </a:ext>
            </a:extLst>
          </p:cNvPr>
          <p:cNvSpPr txBox="1"/>
          <p:nvPr userDrawn="1"/>
        </p:nvSpPr>
        <p:spPr>
          <a:xfrm>
            <a:off x="546100" y="0"/>
            <a:ext cx="5651500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00" b="0" i="0" dirty="0">
                <a:latin typeface="Arial" charset="0"/>
                <a:ea typeface="Arial" charset="0"/>
                <a:cs typeface="Arial" charset="0"/>
              </a:rPr>
              <a:t>IBDROOT\PROJECTS\IBD-NY\OPERAND2015\583992_1\Presentations\2016-01-25 Analyst Day\Project Elysium - Analyst Day Presentation (Updated 20150121).</a:t>
            </a:r>
            <a:r>
              <a:rPr lang="en-US" sz="800" b="0" i="0" dirty="0" err="1">
                <a:latin typeface="Arial" charset="0"/>
                <a:ea typeface="Arial" charset="0"/>
                <a:cs typeface="Arial" charset="0"/>
              </a:rPr>
              <a:t>pptx</a:t>
            </a:r>
            <a:endParaRPr lang="en-US" sz="800" b="0" i="0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498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3946" r:id="rId2"/>
    <p:sldLayoutId id="2147484004" r:id="rId3"/>
    <p:sldLayoutId id="2147483949" r:id="rId4"/>
    <p:sldLayoutId id="2147483947" r:id="rId5"/>
    <p:sldLayoutId id="2147483948" r:id="rId6"/>
    <p:sldLayoutId id="2147484006" r:id="rId7"/>
    <p:sldLayoutId id="2147484007" r:id="rId8"/>
    <p:sldLayoutId id="2147484008" r:id="rId9"/>
    <p:sldLayoutId id="2147484009" r:id="rId10"/>
    <p:sldLayoutId id="2147483950" r:id="rId11"/>
    <p:sldLayoutId id="2147483952" r:id="rId12"/>
    <p:sldLayoutId id="2147484001" r:id="rId13"/>
    <p:sldLayoutId id="2147483956" r:id="rId14"/>
    <p:sldLayoutId id="2147483957" r:id="rId15"/>
    <p:sldLayoutId id="2147483958" r:id="rId16"/>
    <p:sldLayoutId id="2147483959" r:id="rId17"/>
    <p:sldLayoutId id="2147483960" r:id="rId18"/>
    <p:sldLayoutId id="2147483961" r:id="rId19"/>
    <p:sldLayoutId id="2147483962" r:id="rId20"/>
    <p:sldLayoutId id="2147483963" r:id="rId21"/>
    <p:sldLayoutId id="2147483964" r:id="rId22"/>
    <p:sldLayoutId id="2147483965" r:id="rId23"/>
    <p:sldLayoutId id="2147483966" r:id="rId24"/>
    <p:sldLayoutId id="2147483967" r:id="rId25"/>
    <p:sldLayoutId id="2147483968" r:id="rId26"/>
    <p:sldLayoutId id="2147483969" r:id="rId27"/>
    <p:sldLayoutId id="2147483970" r:id="rId28"/>
    <p:sldLayoutId id="2147484000" r:id="rId29"/>
    <p:sldLayoutId id="2147483975" r:id="rId30"/>
    <p:sldLayoutId id="2147483976" r:id="rId31"/>
    <p:sldLayoutId id="2147483977" r:id="rId32"/>
    <p:sldLayoutId id="2147483979" r:id="rId33"/>
    <p:sldLayoutId id="2147483981" r:id="rId34"/>
    <p:sldLayoutId id="2147483982" r:id="rId35"/>
    <p:sldLayoutId id="2147483984" r:id="rId36"/>
    <p:sldLayoutId id="2147483985" r:id="rId37"/>
    <p:sldLayoutId id="2147483987" r:id="rId38"/>
    <p:sldLayoutId id="2147483988" r:id="rId39"/>
    <p:sldLayoutId id="2147484010" r:id="rId40"/>
  </p:sldLayoutIdLst>
  <p:hf hdr="0" dt="0"/>
  <p:txStyles>
    <p:titleStyle>
      <a:lvl1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4572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9144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3716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18288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171450" indent="-171450" algn="l" defTabSz="685800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Clr>
          <a:schemeClr val="accent5"/>
        </a:buClr>
        <a:buFont typeface="Arial" charset="0"/>
        <a:buChar char="•"/>
        <a:defRPr sz="21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L="5143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5"/>
        </a:buClr>
        <a:buFont typeface="Arial" charset="0"/>
        <a:buChar char="•"/>
        <a:defRPr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8572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5"/>
        </a:buClr>
        <a:buFont typeface="Arial" charset="0"/>
        <a:buChar char="•"/>
        <a:defRPr sz="15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12001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5"/>
        </a:buClr>
        <a:buFont typeface="Arial" charset="0"/>
        <a:buChar char="•"/>
        <a:defRPr sz="13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15430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5"/>
        </a:buClr>
        <a:buFont typeface="Arial" charset="0"/>
        <a:buChar char="•"/>
        <a:defRPr sz="13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3084" userDrawn="1">
          <p15:clr>
            <a:srgbClr val="F26B43"/>
          </p15:clr>
        </p15:guide>
        <p15:guide id="6" pos="312" userDrawn="1">
          <p15:clr>
            <a:srgbClr val="F26B43"/>
          </p15:clr>
        </p15:guide>
        <p15:guide id="7" orient="horz" pos="3036" userDrawn="1">
          <p15:clr>
            <a:srgbClr val="F26B43"/>
          </p15:clr>
        </p15:guide>
        <p15:guide id="8" orient="horz" pos="14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cloudevents.io/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syncapi.com/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Event-driven_architecture" TargetMode="External"/><Relationship Id="rId7" Type="http://schemas.openxmlformats.org/officeDocument/2006/relationships/hyperlink" Target="https://www.asyncapi.com/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cloudevents.io/" TargetMode="External"/><Relationship Id="rId5" Type="http://schemas.openxmlformats.org/officeDocument/2006/relationships/hyperlink" Target="https://solace.com/" TargetMode="External"/><Relationship Id="rId4" Type="http://schemas.openxmlformats.org/officeDocument/2006/relationships/hyperlink" Target="https://nats.io/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mailto:lars.helmer@qlik.com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8.xml"/><Relationship Id="rId4" Type="http://schemas.openxmlformats.org/officeDocument/2006/relationships/hyperlink" Target="https://github.com/larshelmer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627B38-B955-164B-8172-49D1954422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ars Helm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5FA7D7-6724-4042-A95B-88279D7923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rchitec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-driven archite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31CF7B-717D-5B42-B150-13F0969508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ebruary 27, 2023</a:t>
            </a:r>
          </a:p>
        </p:txBody>
      </p:sp>
    </p:spTree>
    <p:extLst>
      <p:ext uri="{BB962C8B-B14F-4D97-AF65-F5344CB8AC3E}">
        <p14:creationId xmlns:p14="http://schemas.microsoft.com/office/powerpoint/2010/main" val="7099405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7BE8F-49B2-1947-B429-C72378F62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ivery mod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8D176C-7211-2245-9D0F-A3575A8609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uaranteed – at least onc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96131FE-25B4-7B33-6B80-582A4C1191C7}"/>
              </a:ext>
            </a:extLst>
          </p:cNvPr>
          <p:cNvSpPr/>
          <p:nvPr/>
        </p:nvSpPr>
        <p:spPr>
          <a:xfrm>
            <a:off x="504294" y="2283750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Producer</a:t>
            </a:r>
          </a:p>
        </p:txBody>
      </p:sp>
      <p:sp>
        <p:nvSpPr>
          <p:cNvPr id="6" name="Chevron 5">
            <a:extLst>
              <a:ext uri="{FF2B5EF4-FFF2-40B4-BE49-F238E27FC236}">
                <a16:creationId xmlns:a16="http://schemas.microsoft.com/office/drawing/2014/main" id="{4BA871B5-B4DB-5510-ECB2-77B87DA804D6}"/>
              </a:ext>
            </a:extLst>
          </p:cNvPr>
          <p:cNvSpPr/>
          <p:nvPr/>
        </p:nvSpPr>
        <p:spPr>
          <a:xfrm>
            <a:off x="2452839" y="2283370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91F864E8-0371-6928-AD5F-536491A3C07A}"/>
              </a:ext>
            </a:extLst>
          </p:cNvPr>
          <p:cNvSpPr/>
          <p:nvPr/>
        </p:nvSpPr>
        <p:spPr>
          <a:xfrm>
            <a:off x="1971143" y="2316461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722F5453-5FF2-4B98-80B2-9C65C80C202E}"/>
              </a:ext>
            </a:extLst>
          </p:cNvPr>
          <p:cNvSpPr/>
          <p:nvPr/>
        </p:nvSpPr>
        <p:spPr>
          <a:xfrm>
            <a:off x="6679232" y="2318369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E44D517-C19C-B8CD-47AE-3131D3C8EC03}"/>
              </a:ext>
            </a:extLst>
          </p:cNvPr>
          <p:cNvSpPr/>
          <p:nvPr/>
        </p:nvSpPr>
        <p:spPr>
          <a:xfrm>
            <a:off x="7233555" y="2443988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 sz="1300" dirty="0">
              <a:solidFill>
                <a:sysClr val="windowText" lastClr="000000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543E41B-C666-D476-95C9-399B5472EBC2}"/>
              </a:ext>
            </a:extLst>
          </p:cNvPr>
          <p:cNvSpPr/>
          <p:nvPr/>
        </p:nvSpPr>
        <p:spPr>
          <a:xfrm>
            <a:off x="7143603" y="2283750"/>
            <a:ext cx="1377044" cy="576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FCD8760D-B0E8-3F1A-0C71-745D7D13AD09}"/>
              </a:ext>
            </a:extLst>
          </p:cNvPr>
          <p:cNvSpPr/>
          <p:nvPr/>
        </p:nvSpPr>
        <p:spPr>
          <a:xfrm rot="10800000">
            <a:off x="1971142" y="2698427"/>
            <a:ext cx="359231" cy="129868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1" name="Can 10">
            <a:extLst>
              <a:ext uri="{FF2B5EF4-FFF2-40B4-BE49-F238E27FC236}">
                <a16:creationId xmlns:a16="http://schemas.microsoft.com/office/drawing/2014/main" id="{6EB9784E-F328-435D-96F5-DDEC8DDCA061}"/>
              </a:ext>
            </a:extLst>
          </p:cNvPr>
          <p:cNvSpPr/>
          <p:nvPr/>
        </p:nvSpPr>
        <p:spPr>
          <a:xfrm>
            <a:off x="2849221" y="3450391"/>
            <a:ext cx="555171" cy="587829"/>
          </a:xfrm>
          <a:prstGeom prst="can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dirty="0"/>
              <a:t>DB</a:t>
            </a:r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4A68C02C-1F11-17A4-369F-C4480DF7B635}"/>
              </a:ext>
            </a:extLst>
          </p:cNvPr>
          <p:cNvSpPr/>
          <p:nvPr/>
        </p:nvSpPr>
        <p:spPr>
          <a:xfrm>
            <a:off x="3081487" y="2961260"/>
            <a:ext cx="122466" cy="387241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A9FD2685-1634-3AD4-519A-28C56B3DD293}"/>
              </a:ext>
            </a:extLst>
          </p:cNvPr>
          <p:cNvSpPr/>
          <p:nvPr/>
        </p:nvSpPr>
        <p:spPr>
          <a:xfrm>
            <a:off x="5178727" y="2283370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14" name="Can 13">
            <a:extLst>
              <a:ext uri="{FF2B5EF4-FFF2-40B4-BE49-F238E27FC236}">
                <a16:creationId xmlns:a16="http://schemas.microsoft.com/office/drawing/2014/main" id="{FF8EE723-C88A-37C5-6098-0022E0E9D03C}"/>
              </a:ext>
            </a:extLst>
          </p:cNvPr>
          <p:cNvSpPr/>
          <p:nvPr/>
        </p:nvSpPr>
        <p:spPr>
          <a:xfrm>
            <a:off x="5575109" y="3450391"/>
            <a:ext cx="555171" cy="587829"/>
          </a:xfrm>
          <a:prstGeom prst="can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dirty="0"/>
              <a:t>DB</a:t>
            </a:r>
          </a:p>
        </p:txBody>
      </p:sp>
      <p:sp>
        <p:nvSpPr>
          <p:cNvPr id="15" name="Down Arrow 14">
            <a:extLst>
              <a:ext uri="{FF2B5EF4-FFF2-40B4-BE49-F238E27FC236}">
                <a16:creationId xmlns:a16="http://schemas.microsoft.com/office/drawing/2014/main" id="{1137FEBC-6E9D-BBA2-8E66-CF7D268198E1}"/>
              </a:ext>
            </a:extLst>
          </p:cNvPr>
          <p:cNvSpPr/>
          <p:nvPr/>
        </p:nvSpPr>
        <p:spPr>
          <a:xfrm rot="10800000">
            <a:off x="5807375" y="2961260"/>
            <a:ext cx="122466" cy="387241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A798C212-83BB-B1D3-B2A4-62FB80000AA2}"/>
              </a:ext>
            </a:extLst>
          </p:cNvPr>
          <p:cNvSpPr/>
          <p:nvPr/>
        </p:nvSpPr>
        <p:spPr>
          <a:xfrm rot="10800000">
            <a:off x="6645575" y="2698428"/>
            <a:ext cx="359231" cy="129868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5995492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ivery mod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mparis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/>
              <a:t>At most once</a:t>
            </a:r>
          </a:p>
          <a:p>
            <a:pPr lvl="1"/>
            <a:r>
              <a:rPr lang="en-US" dirty="0"/>
              <a:t>High throughput</a:t>
            </a:r>
          </a:p>
          <a:p>
            <a:pPr lvl="1"/>
            <a:r>
              <a:rPr lang="en-US" dirty="0"/>
              <a:t>Simp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en-US" dirty="0"/>
              <a:t>At least once</a:t>
            </a:r>
          </a:p>
          <a:p>
            <a:pPr lvl="1"/>
            <a:r>
              <a:rPr lang="en-US" dirty="0"/>
              <a:t>Queuing / buffering</a:t>
            </a:r>
          </a:p>
          <a:p>
            <a:pPr lvl="1"/>
            <a:r>
              <a:rPr lang="en-US" dirty="0"/>
              <a:t>Guaranteed delivery</a:t>
            </a:r>
          </a:p>
          <a:p>
            <a:pPr lvl="1"/>
            <a:r>
              <a:rPr lang="en-US" dirty="0"/>
              <a:t>Complex setup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3229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7BE8F-49B2-1947-B429-C72378F62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arantees?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2605CA7-CE6F-A04E-3A3E-B22D8F8C89BE}"/>
              </a:ext>
            </a:extLst>
          </p:cNvPr>
          <p:cNvSpPr/>
          <p:nvPr/>
        </p:nvSpPr>
        <p:spPr>
          <a:xfrm>
            <a:off x="1908551" y="1995750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Producer</a:t>
            </a:r>
          </a:p>
        </p:txBody>
      </p:sp>
      <p:sp>
        <p:nvSpPr>
          <p:cNvPr id="4" name="Chevron 3">
            <a:extLst>
              <a:ext uri="{FF2B5EF4-FFF2-40B4-BE49-F238E27FC236}">
                <a16:creationId xmlns:a16="http://schemas.microsoft.com/office/drawing/2014/main" id="{C12004AF-862A-A0D3-043E-6DF229EE002F}"/>
              </a:ext>
            </a:extLst>
          </p:cNvPr>
          <p:cNvSpPr/>
          <p:nvPr/>
        </p:nvSpPr>
        <p:spPr>
          <a:xfrm>
            <a:off x="3857096" y="1995370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5A1E3C8E-97A4-FCAD-1725-566B685FC06F}"/>
              </a:ext>
            </a:extLst>
          </p:cNvPr>
          <p:cNvSpPr/>
          <p:nvPr/>
        </p:nvSpPr>
        <p:spPr>
          <a:xfrm>
            <a:off x="3375400" y="2028461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3F0C6BD6-8941-B118-1D0C-1B894369CB72}"/>
              </a:ext>
            </a:extLst>
          </p:cNvPr>
          <p:cNvSpPr/>
          <p:nvPr/>
        </p:nvSpPr>
        <p:spPr>
          <a:xfrm>
            <a:off x="5390262" y="2030369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B0B8CD7-E95C-3196-8711-939DE5DE5243}"/>
              </a:ext>
            </a:extLst>
          </p:cNvPr>
          <p:cNvSpPr/>
          <p:nvPr/>
        </p:nvSpPr>
        <p:spPr>
          <a:xfrm>
            <a:off x="5944585" y="2155988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 sz="1300" dirty="0">
              <a:solidFill>
                <a:sysClr val="windowText" lastClr="000000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97A8C0D-811E-90EF-28F9-5E1F5DB48E5E}"/>
              </a:ext>
            </a:extLst>
          </p:cNvPr>
          <p:cNvSpPr/>
          <p:nvPr/>
        </p:nvSpPr>
        <p:spPr>
          <a:xfrm>
            <a:off x="5854633" y="1995750"/>
            <a:ext cx="1377044" cy="576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id="{F2CE0CAA-EF50-1C90-1C44-BF4E101DBF49}"/>
              </a:ext>
            </a:extLst>
          </p:cNvPr>
          <p:cNvSpPr/>
          <p:nvPr/>
        </p:nvSpPr>
        <p:spPr>
          <a:xfrm rot="10800000">
            <a:off x="3375399" y="2410427"/>
            <a:ext cx="359231" cy="129868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0" name="Can 9">
            <a:extLst>
              <a:ext uri="{FF2B5EF4-FFF2-40B4-BE49-F238E27FC236}">
                <a16:creationId xmlns:a16="http://schemas.microsoft.com/office/drawing/2014/main" id="{40C5EA35-582E-01C6-D114-C9C0135CDA5C}"/>
              </a:ext>
            </a:extLst>
          </p:cNvPr>
          <p:cNvSpPr/>
          <p:nvPr/>
        </p:nvSpPr>
        <p:spPr>
          <a:xfrm>
            <a:off x="4253478" y="3162391"/>
            <a:ext cx="555171" cy="587829"/>
          </a:xfrm>
          <a:prstGeom prst="can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dirty="0"/>
              <a:t>DB</a:t>
            </a:r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4A67E6AC-E133-0C50-67D2-4FD1544BC367}"/>
              </a:ext>
            </a:extLst>
          </p:cNvPr>
          <p:cNvSpPr/>
          <p:nvPr/>
        </p:nvSpPr>
        <p:spPr>
          <a:xfrm>
            <a:off x="4408253" y="2673261"/>
            <a:ext cx="122466" cy="387241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860C19A1-548C-FAEA-042F-B8DFCC25EE0A}"/>
              </a:ext>
            </a:extLst>
          </p:cNvPr>
          <p:cNvSpPr/>
          <p:nvPr/>
        </p:nvSpPr>
        <p:spPr>
          <a:xfrm rot="10800000">
            <a:off x="5356605" y="2410428"/>
            <a:ext cx="359231" cy="129868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6" name="Down Arrow 15">
            <a:extLst>
              <a:ext uri="{FF2B5EF4-FFF2-40B4-BE49-F238E27FC236}">
                <a16:creationId xmlns:a16="http://schemas.microsoft.com/office/drawing/2014/main" id="{CE547FCA-6053-021D-C255-BA2B29244B65}"/>
              </a:ext>
            </a:extLst>
          </p:cNvPr>
          <p:cNvSpPr/>
          <p:nvPr/>
        </p:nvSpPr>
        <p:spPr>
          <a:xfrm rot="10800000">
            <a:off x="4571161" y="2673259"/>
            <a:ext cx="122466" cy="387241"/>
          </a:xfrm>
          <a:prstGeom prst="down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905767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st messag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/>
              <a:t>Not needed?</a:t>
            </a:r>
          </a:p>
          <a:p>
            <a:pPr lvl="0"/>
            <a:r>
              <a:rPr lang="en-US" dirty="0"/>
              <a:t>Reconciliation</a:t>
            </a:r>
          </a:p>
          <a:p>
            <a:pPr lvl="0"/>
            <a:r>
              <a:rPr lang="en-US" dirty="0"/>
              <a:t>Active monitoring</a:t>
            </a:r>
          </a:p>
          <a:p>
            <a:pPr lvl="0"/>
            <a:r>
              <a:rPr lang="en-US" dirty="0"/>
              <a:t>UI interactions</a:t>
            </a:r>
          </a:p>
          <a:p>
            <a:pPr lvl="0"/>
            <a:r>
              <a:rPr lang="en-US" dirty="0"/>
              <a:t>Customer complaints</a:t>
            </a:r>
          </a:p>
          <a:p>
            <a:pPr lvl="2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etection and recovery</a:t>
            </a:r>
          </a:p>
        </p:txBody>
      </p:sp>
    </p:spTree>
    <p:extLst>
      <p:ext uri="{BB962C8B-B14F-4D97-AF65-F5344CB8AC3E}">
        <p14:creationId xmlns:p14="http://schemas.microsoft.com/office/powerpoint/2010/main" val="360612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7BE8F-49B2-1947-B429-C72378F62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lik’s cloud platform</a:t>
            </a:r>
          </a:p>
        </p:txBody>
      </p:sp>
      <p:sp>
        <p:nvSpPr>
          <p:cNvPr id="3" name="Can 2">
            <a:extLst>
              <a:ext uri="{FF2B5EF4-FFF2-40B4-BE49-F238E27FC236}">
                <a16:creationId xmlns:a16="http://schemas.microsoft.com/office/drawing/2014/main" id="{8AEEDDA8-4707-3CE6-A33A-0FC2CB909935}"/>
              </a:ext>
            </a:extLst>
          </p:cNvPr>
          <p:cNvSpPr/>
          <p:nvPr/>
        </p:nvSpPr>
        <p:spPr>
          <a:xfrm>
            <a:off x="925286" y="2307771"/>
            <a:ext cx="2492830" cy="751114"/>
          </a:xfrm>
          <a:prstGeom prst="ca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dirty="0"/>
              <a:t>License backend (LBE)</a:t>
            </a:r>
          </a:p>
        </p:txBody>
      </p:sp>
      <p:sp>
        <p:nvSpPr>
          <p:cNvPr id="6" name="Can 5">
            <a:extLst>
              <a:ext uri="{FF2B5EF4-FFF2-40B4-BE49-F238E27FC236}">
                <a16:creationId xmlns:a16="http://schemas.microsoft.com/office/drawing/2014/main" id="{0947F81E-E5A1-E27F-7483-2D46DB19952A}"/>
              </a:ext>
            </a:extLst>
          </p:cNvPr>
          <p:cNvSpPr/>
          <p:nvPr/>
        </p:nvSpPr>
        <p:spPr>
          <a:xfrm>
            <a:off x="5725886" y="2307771"/>
            <a:ext cx="2492830" cy="751114"/>
          </a:xfrm>
          <a:prstGeom prst="ca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dirty="0"/>
              <a:t>Qlik Cloud Services (QC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49A841-2B40-8C24-D623-54CD6800CEDD}"/>
              </a:ext>
            </a:extLst>
          </p:cNvPr>
          <p:cNvSpPr txBox="1"/>
          <p:nvPr/>
        </p:nvSpPr>
        <p:spPr>
          <a:xfrm>
            <a:off x="1306287" y="3276599"/>
            <a:ext cx="17308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SE" sz="1600" dirty="0">
                <a:latin typeface="Arial" panose="020B0604020202020204" pitchFamily="34" charset="0"/>
                <a:cs typeface="Arial" panose="020B0604020202020204" pitchFamily="34" charset="0"/>
              </a:rPr>
              <a:t>At most o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0AC6A8-7E36-5A9F-1AC5-AA5A4E10DD5A}"/>
              </a:ext>
            </a:extLst>
          </p:cNvPr>
          <p:cNvSpPr txBox="1"/>
          <p:nvPr/>
        </p:nvSpPr>
        <p:spPr>
          <a:xfrm>
            <a:off x="6106887" y="3276599"/>
            <a:ext cx="1730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SE" sz="1600" dirty="0">
                <a:latin typeface="Arial" panose="020B0604020202020204" pitchFamily="34" charset="0"/>
                <a:cs typeface="Arial" panose="020B0604020202020204" pitchFamily="34" charset="0"/>
              </a:rPr>
              <a:t>At least once /</a:t>
            </a:r>
          </a:p>
          <a:p>
            <a:pPr algn="l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SE" sz="1600" dirty="0">
                <a:latin typeface="Arial" panose="020B0604020202020204" pitchFamily="34" charset="0"/>
                <a:cs typeface="Arial" panose="020B0604020202020204" pitchFamily="34" charset="0"/>
              </a:rPr>
              <a:t>t most once</a:t>
            </a:r>
          </a:p>
        </p:txBody>
      </p:sp>
    </p:spTree>
    <p:extLst>
      <p:ext uri="{BB962C8B-B14F-4D97-AF65-F5344CB8AC3E}">
        <p14:creationId xmlns:p14="http://schemas.microsoft.com/office/powerpoint/2010/main" val="2182933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  <p:bldP spid="7" grpId="0"/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-driven architect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/>
              <a:t>Publish / subscribe</a:t>
            </a:r>
          </a:p>
          <a:p>
            <a:pPr lvl="0"/>
            <a:r>
              <a:rPr lang="en-US" dirty="0"/>
              <a:t>Horizontal scale</a:t>
            </a:r>
          </a:p>
          <a:p>
            <a:pPr lvl="0"/>
            <a:r>
              <a:rPr lang="en-US" dirty="0"/>
              <a:t>Events to signal state change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336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7BE8F-49B2-1947-B429-C72378F62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-driven archite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8D176C-7211-2245-9D0F-A3575A8609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ublish / subscrib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6B42AE9-EC7F-D5DA-F2D8-5DDF5EA5B17C}"/>
              </a:ext>
            </a:extLst>
          </p:cNvPr>
          <p:cNvSpPr/>
          <p:nvPr/>
        </p:nvSpPr>
        <p:spPr>
          <a:xfrm>
            <a:off x="1934933" y="2126009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Producer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7FCF1EC-37B7-1313-455B-1A2891FBC737}"/>
              </a:ext>
            </a:extLst>
          </p:cNvPr>
          <p:cNvSpPr/>
          <p:nvPr/>
        </p:nvSpPr>
        <p:spPr>
          <a:xfrm>
            <a:off x="5832023" y="1389391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  <p:sp>
        <p:nvSpPr>
          <p:cNvPr id="6" name="Chevron 5">
            <a:extLst>
              <a:ext uri="{FF2B5EF4-FFF2-40B4-BE49-F238E27FC236}">
                <a16:creationId xmlns:a16="http://schemas.microsoft.com/office/drawing/2014/main" id="{807403C6-292C-5130-30BD-E1914CD5E92E}"/>
              </a:ext>
            </a:extLst>
          </p:cNvPr>
          <p:cNvSpPr/>
          <p:nvPr/>
        </p:nvSpPr>
        <p:spPr>
          <a:xfrm>
            <a:off x="3883478" y="2125629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B1920718-303A-8B37-A9CE-3756D01BAF37}"/>
              </a:ext>
            </a:extLst>
          </p:cNvPr>
          <p:cNvSpPr/>
          <p:nvPr/>
        </p:nvSpPr>
        <p:spPr>
          <a:xfrm>
            <a:off x="3418112" y="2348695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4AD5FCD5-68DC-2812-4273-27B585FABB5A}"/>
              </a:ext>
            </a:extLst>
          </p:cNvPr>
          <p:cNvSpPr/>
          <p:nvPr/>
        </p:nvSpPr>
        <p:spPr>
          <a:xfrm>
            <a:off x="5366657" y="2348695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F3FF8A1-8A23-2294-C0C8-CC6AD372F06C}"/>
              </a:ext>
            </a:extLst>
          </p:cNvPr>
          <p:cNvSpPr/>
          <p:nvPr/>
        </p:nvSpPr>
        <p:spPr>
          <a:xfrm>
            <a:off x="5832023" y="2125629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BE6C642-6598-5862-B2D1-F3F40A191B61}"/>
              </a:ext>
            </a:extLst>
          </p:cNvPr>
          <p:cNvSpPr/>
          <p:nvPr/>
        </p:nvSpPr>
        <p:spPr>
          <a:xfrm>
            <a:off x="5832023" y="2861867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28A7A772-CC75-5598-C3E0-872A3DCD65D1}"/>
              </a:ext>
            </a:extLst>
          </p:cNvPr>
          <p:cNvSpPr/>
          <p:nvPr/>
        </p:nvSpPr>
        <p:spPr>
          <a:xfrm rot="19317174">
            <a:off x="5285630" y="1938834"/>
            <a:ext cx="372255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F49EB555-59B9-DA23-742C-74B26E14B7EA}"/>
              </a:ext>
            </a:extLst>
          </p:cNvPr>
          <p:cNvSpPr/>
          <p:nvPr/>
        </p:nvSpPr>
        <p:spPr>
          <a:xfrm rot="2324890">
            <a:off x="5286270" y="2827153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DC661530-E83B-756B-0C92-D6175431388C}"/>
              </a:ext>
            </a:extLst>
          </p:cNvPr>
          <p:cNvSpPr/>
          <p:nvPr/>
        </p:nvSpPr>
        <p:spPr>
          <a:xfrm rot="3348772">
            <a:off x="5286271" y="3258084"/>
            <a:ext cx="359231" cy="129868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2079156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7BE8F-49B2-1947-B429-C72378F62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-driven archite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8D176C-7211-2245-9D0F-A3575A8609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orizontal scal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60CE219-C00E-35DE-FB4C-B84399E8C22C}"/>
              </a:ext>
            </a:extLst>
          </p:cNvPr>
          <p:cNvSpPr/>
          <p:nvPr/>
        </p:nvSpPr>
        <p:spPr>
          <a:xfrm>
            <a:off x="5921975" y="1911975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 sz="1300" dirty="0">
              <a:solidFill>
                <a:sysClr val="windowText" lastClr="000000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A9DF7B4-2F89-48C7-2922-44F4908FEF4E}"/>
              </a:ext>
            </a:extLst>
          </p:cNvPr>
          <p:cNvSpPr/>
          <p:nvPr/>
        </p:nvSpPr>
        <p:spPr>
          <a:xfrm>
            <a:off x="1934933" y="2284130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Producer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6B0A2AC-2D29-7FEB-D5C8-74BB2B13F6FF}"/>
              </a:ext>
            </a:extLst>
          </p:cNvPr>
          <p:cNvSpPr/>
          <p:nvPr/>
        </p:nvSpPr>
        <p:spPr>
          <a:xfrm>
            <a:off x="5832023" y="1751737"/>
            <a:ext cx="1377044" cy="576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 A</a:t>
            </a:r>
          </a:p>
        </p:txBody>
      </p:sp>
      <p:sp>
        <p:nvSpPr>
          <p:cNvPr id="7" name="Chevron 6">
            <a:extLst>
              <a:ext uri="{FF2B5EF4-FFF2-40B4-BE49-F238E27FC236}">
                <a16:creationId xmlns:a16="http://schemas.microsoft.com/office/drawing/2014/main" id="{0401755B-C978-10EB-07DC-7EC56330C421}"/>
              </a:ext>
            </a:extLst>
          </p:cNvPr>
          <p:cNvSpPr/>
          <p:nvPr/>
        </p:nvSpPr>
        <p:spPr>
          <a:xfrm>
            <a:off x="3883478" y="2283750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F169B14F-428F-A6AB-B5C6-927A5129F31A}"/>
              </a:ext>
            </a:extLst>
          </p:cNvPr>
          <p:cNvSpPr/>
          <p:nvPr/>
        </p:nvSpPr>
        <p:spPr>
          <a:xfrm>
            <a:off x="3418112" y="2506816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2823E09-1CEF-381F-C769-B5893634E2A1}"/>
              </a:ext>
            </a:extLst>
          </p:cNvPr>
          <p:cNvSpPr/>
          <p:nvPr/>
        </p:nvSpPr>
        <p:spPr>
          <a:xfrm>
            <a:off x="5832023" y="2648213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 B</a:t>
            </a:r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F380E68C-6C89-4900-34C8-8F1E0F03322D}"/>
              </a:ext>
            </a:extLst>
          </p:cNvPr>
          <p:cNvSpPr/>
          <p:nvPr/>
        </p:nvSpPr>
        <p:spPr>
          <a:xfrm rot="20050370">
            <a:off x="5285628" y="2218815"/>
            <a:ext cx="372255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E407F849-7AAF-E889-5B1C-0A2AE4269AD1}"/>
              </a:ext>
            </a:extLst>
          </p:cNvPr>
          <p:cNvSpPr/>
          <p:nvPr/>
        </p:nvSpPr>
        <p:spPr>
          <a:xfrm rot="1446236">
            <a:off x="5296018" y="2751508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42683301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7BE8F-49B2-1947-B429-C72378F62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-driven archite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8D176C-7211-2245-9D0F-A3575A8609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ignal state chang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C46137C-5672-1CCD-EB7D-8B12DF5F51B2}"/>
              </a:ext>
            </a:extLst>
          </p:cNvPr>
          <p:cNvSpPr/>
          <p:nvPr/>
        </p:nvSpPr>
        <p:spPr>
          <a:xfrm>
            <a:off x="1934933" y="2284130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Producer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138D82F-DB2B-4E44-CE89-18535E3E5A32}"/>
              </a:ext>
            </a:extLst>
          </p:cNvPr>
          <p:cNvSpPr/>
          <p:nvPr/>
        </p:nvSpPr>
        <p:spPr>
          <a:xfrm>
            <a:off x="5832023" y="1547512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 A</a:t>
            </a:r>
          </a:p>
        </p:txBody>
      </p:sp>
      <p:sp>
        <p:nvSpPr>
          <p:cNvPr id="6" name="Chevron 5">
            <a:extLst>
              <a:ext uri="{FF2B5EF4-FFF2-40B4-BE49-F238E27FC236}">
                <a16:creationId xmlns:a16="http://schemas.microsoft.com/office/drawing/2014/main" id="{D83338E9-F16D-5FB6-8D25-E32250C3B7A4}"/>
              </a:ext>
            </a:extLst>
          </p:cNvPr>
          <p:cNvSpPr/>
          <p:nvPr/>
        </p:nvSpPr>
        <p:spPr>
          <a:xfrm>
            <a:off x="3883478" y="2283750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D4C6E086-EF4B-EE61-5898-B566EC029B26}"/>
              </a:ext>
            </a:extLst>
          </p:cNvPr>
          <p:cNvSpPr/>
          <p:nvPr/>
        </p:nvSpPr>
        <p:spPr>
          <a:xfrm>
            <a:off x="3418112" y="2506816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E59F5566-3F4A-19A3-FA16-2AD29AADFD39}"/>
              </a:ext>
            </a:extLst>
          </p:cNvPr>
          <p:cNvSpPr/>
          <p:nvPr/>
        </p:nvSpPr>
        <p:spPr>
          <a:xfrm>
            <a:off x="5366657" y="2506816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EC3E938-034F-9786-E1AB-F619BDB66203}"/>
              </a:ext>
            </a:extLst>
          </p:cNvPr>
          <p:cNvSpPr/>
          <p:nvPr/>
        </p:nvSpPr>
        <p:spPr>
          <a:xfrm>
            <a:off x="5832023" y="2283750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 B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12BF998-1025-8BFA-A06C-50DDCB73962E}"/>
              </a:ext>
            </a:extLst>
          </p:cNvPr>
          <p:cNvSpPr/>
          <p:nvPr/>
        </p:nvSpPr>
        <p:spPr>
          <a:xfrm>
            <a:off x="5832023" y="3019988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 C</a:t>
            </a:r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9A1F9FB8-C549-D822-0A7D-179E433ED1CA}"/>
              </a:ext>
            </a:extLst>
          </p:cNvPr>
          <p:cNvSpPr/>
          <p:nvPr/>
        </p:nvSpPr>
        <p:spPr>
          <a:xfrm rot="19317174">
            <a:off x="5285630" y="2096955"/>
            <a:ext cx="372255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11FE20C3-E195-6032-D79F-E8DD19BC4249}"/>
              </a:ext>
            </a:extLst>
          </p:cNvPr>
          <p:cNvSpPr/>
          <p:nvPr/>
        </p:nvSpPr>
        <p:spPr>
          <a:xfrm rot="2324890">
            <a:off x="5286270" y="2985274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A601489-0E22-79C8-45B2-6CC6792546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5376" y="1614508"/>
            <a:ext cx="547381" cy="54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9473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-cas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/>
              <a:t>Cache expiration</a:t>
            </a:r>
          </a:p>
          <a:p>
            <a:pPr lvl="0"/>
            <a:r>
              <a:rPr lang="en-US" dirty="0"/>
              <a:t>Pre-load</a:t>
            </a:r>
          </a:p>
          <a:p>
            <a:pPr lvl="0"/>
            <a:r>
              <a:rPr lang="en-US" dirty="0"/>
              <a:t>Data collection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67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/>
              <a:t>Analytics</a:t>
            </a:r>
          </a:p>
          <a:p>
            <a:pPr lvl="0"/>
            <a:r>
              <a:rPr lang="en-US" dirty="0"/>
              <a:t>Integration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On-premise</a:t>
            </a:r>
          </a:p>
          <a:p>
            <a:pPr lvl="0"/>
            <a:r>
              <a:rPr lang="en-US" dirty="0"/>
              <a:t>Clou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rket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Qlik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723B6D1-76ED-EB47-AD74-488B1926F987}"/>
              </a:ext>
            </a:extLst>
          </p:cNvPr>
          <p:cNvGraphicFramePr/>
          <p:nvPr/>
        </p:nvGraphicFramePr>
        <p:xfrm>
          <a:off x="4801477" y="1214203"/>
          <a:ext cx="3578595" cy="3159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AD480724-6341-854F-A32C-5B1B75747566}"/>
              </a:ext>
            </a:extLst>
          </p:cNvPr>
          <p:cNvSpPr/>
          <p:nvPr/>
        </p:nvSpPr>
        <p:spPr>
          <a:xfrm>
            <a:off x="4251747" y="4062329"/>
            <a:ext cx="4678054" cy="6033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>
              <a:lnSpc>
                <a:spcPct val="80000"/>
              </a:lnSpc>
            </a:pPr>
            <a:r>
              <a:rPr lang="en-US" sz="1400" b="1" dirty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rPr>
              <a:t>Important data</a:t>
            </a:r>
          </a:p>
        </p:txBody>
      </p:sp>
    </p:spTree>
    <p:extLst>
      <p:ext uri="{BB962C8B-B14F-4D97-AF65-F5344CB8AC3E}">
        <p14:creationId xmlns:p14="http://schemas.microsoft.com/office/powerpoint/2010/main" val="555817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7BE8F-49B2-1947-B429-C72378F62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-cas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8D176C-7211-2245-9D0F-A3575A8609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ctive Monitoring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08E1D7D-4163-F159-D123-5302234A0D60}"/>
              </a:ext>
            </a:extLst>
          </p:cNvPr>
          <p:cNvSpPr/>
          <p:nvPr/>
        </p:nvSpPr>
        <p:spPr>
          <a:xfrm>
            <a:off x="504294" y="1455309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Producer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3DCB785-19EF-CD46-0E6F-A5127E61DC3A}"/>
              </a:ext>
            </a:extLst>
          </p:cNvPr>
          <p:cNvSpPr/>
          <p:nvPr/>
        </p:nvSpPr>
        <p:spPr>
          <a:xfrm>
            <a:off x="4414408" y="1454929"/>
            <a:ext cx="1377044" cy="576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 / Producer</a:t>
            </a:r>
          </a:p>
        </p:txBody>
      </p:sp>
      <p:sp>
        <p:nvSpPr>
          <p:cNvPr id="7" name="Chevron 6">
            <a:extLst>
              <a:ext uri="{FF2B5EF4-FFF2-40B4-BE49-F238E27FC236}">
                <a16:creationId xmlns:a16="http://schemas.microsoft.com/office/drawing/2014/main" id="{EA639A6A-0119-BD5B-BFAA-40EDE0E7DF6C}"/>
              </a:ext>
            </a:extLst>
          </p:cNvPr>
          <p:cNvSpPr/>
          <p:nvPr/>
        </p:nvSpPr>
        <p:spPr>
          <a:xfrm>
            <a:off x="2452839" y="1454929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05BE13E8-69F4-BAD2-1C44-35D1ECB436EF}"/>
              </a:ext>
            </a:extLst>
          </p:cNvPr>
          <p:cNvSpPr/>
          <p:nvPr/>
        </p:nvSpPr>
        <p:spPr>
          <a:xfrm>
            <a:off x="1987473" y="1677995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937E943-5218-6B2A-0EB1-78CFAE364920}"/>
              </a:ext>
            </a:extLst>
          </p:cNvPr>
          <p:cNvSpPr/>
          <p:nvPr/>
        </p:nvSpPr>
        <p:spPr>
          <a:xfrm>
            <a:off x="4414408" y="2163555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Monitor</a:t>
            </a:r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1309F133-43AD-2D5E-0240-EFB48AA10892}"/>
              </a:ext>
            </a:extLst>
          </p:cNvPr>
          <p:cNvSpPr/>
          <p:nvPr/>
        </p:nvSpPr>
        <p:spPr>
          <a:xfrm>
            <a:off x="3936018" y="1677995"/>
            <a:ext cx="372255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EF8B4C6E-CF98-81C2-21C8-578F1D5E3140}"/>
              </a:ext>
            </a:extLst>
          </p:cNvPr>
          <p:cNvSpPr/>
          <p:nvPr/>
        </p:nvSpPr>
        <p:spPr>
          <a:xfrm rot="2437846">
            <a:off x="3938186" y="2098621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4" name="Chevron 13">
            <a:extLst>
              <a:ext uri="{FF2B5EF4-FFF2-40B4-BE49-F238E27FC236}">
                <a16:creationId xmlns:a16="http://schemas.microsoft.com/office/drawing/2014/main" id="{4C1BBF90-66C8-3E90-4CB5-8C8970B81AAD}"/>
              </a:ext>
            </a:extLst>
          </p:cNvPr>
          <p:cNvSpPr/>
          <p:nvPr/>
        </p:nvSpPr>
        <p:spPr>
          <a:xfrm>
            <a:off x="6375977" y="1454929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3F055EDF-C344-FE60-9CB9-7BBFFF6A0595}"/>
              </a:ext>
            </a:extLst>
          </p:cNvPr>
          <p:cNvSpPr/>
          <p:nvPr/>
        </p:nvSpPr>
        <p:spPr>
          <a:xfrm>
            <a:off x="5910611" y="1677995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A84875C-76A0-8A52-86EB-B2EB4BD3ED97}"/>
              </a:ext>
            </a:extLst>
          </p:cNvPr>
          <p:cNvSpPr/>
          <p:nvPr/>
        </p:nvSpPr>
        <p:spPr>
          <a:xfrm>
            <a:off x="1075795" y="2911077"/>
            <a:ext cx="1377044" cy="576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 / Produc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9E82F34-D761-40A1-198C-CA6953913F76}"/>
              </a:ext>
            </a:extLst>
          </p:cNvPr>
          <p:cNvSpPr/>
          <p:nvPr/>
        </p:nvSpPr>
        <p:spPr>
          <a:xfrm>
            <a:off x="1075795" y="3619703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Monitor</a:t>
            </a:r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5BED2885-9319-C5D8-52A6-2C8E0953E8D2}"/>
              </a:ext>
            </a:extLst>
          </p:cNvPr>
          <p:cNvSpPr/>
          <p:nvPr/>
        </p:nvSpPr>
        <p:spPr>
          <a:xfrm>
            <a:off x="597405" y="3134143"/>
            <a:ext cx="372255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34F7B5B2-FDF6-2466-8291-B80080A79BB2}"/>
              </a:ext>
            </a:extLst>
          </p:cNvPr>
          <p:cNvSpPr/>
          <p:nvPr/>
        </p:nvSpPr>
        <p:spPr>
          <a:xfrm rot="2437846">
            <a:off x="599573" y="3554769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B531265-691A-9DF2-3989-A887173FDFA7}"/>
              </a:ext>
            </a:extLst>
          </p:cNvPr>
          <p:cNvSpPr txBox="1"/>
          <p:nvPr/>
        </p:nvSpPr>
        <p:spPr>
          <a:xfrm>
            <a:off x="1968718" y="1373597"/>
            <a:ext cx="283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SE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E9F8499-5AB2-29F9-8152-FC844F4A5187}"/>
              </a:ext>
            </a:extLst>
          </p:cNvPr>
          <p:cNvSpPr txBox="1"/>
          <p:nvPr/>
        </p:nvSpPr>
        <p:spPr>
          <a:xfrm>
            <a:off x="3930287" y="1308663"/>
            <a:ext cx="283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SE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4B9FD33-0B25-86A3-4042-638FDBA52748}"/>
              </a:ext>
            </a:extLst>
          </p:cNvPr>
          <p:cNvSpPr txBox="1"/>
          <p:nvPr/>
        </p:nvSpPr>
        <p:spPr>
          <a:xfrm>
            <a:off x="3738685" y="2128790"/>
            <a:ext cx="283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SE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F0C65E5-337E-B972-39BE-A9132E263B6C}"/>
              </a:ext>
            </a:extLst>
          </p:cNvPr>
          <p:cNvSpPr txBox="1"/>
          <p:nvPr/>
        </p:nvSpPr>
        <p:spPr>
          <a:xfrm>
            <a:off x="5909459" y="1369946"/>
            <a:ext cx="444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SE" dirty="0">
                <a:latin typeface="Arial" panose="020B0604020202020204" pitchFamily="34" charset="0"/>
                <a:cs typeface="Arial" panose="020B0604020202020204" pitchFamily="34" charset="0"/>
              </a:rPr>
              <a:t>M’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348042-0D46-E7B6-5138-DC6831E3E40F}"/>
              </a:ext>
            </a:extLst>
          </p:cNvPr>
          <p:cNvSpPr txBox="1"/>
          <p:nvPr/>
        </p:nvSpPr>
        <p:spPr>
          <a:xfrm>
            <a:off x="585038" y="2804738"/>
            <a:ext cx="444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SE" dirty="0">
                <a:latin typeface="Arial" panose="020B0604020202020204" pitchFamily="34" charset="0"/>
                <a:cs typeface="Arial" panose="020B0604020202020204" pitchFamily="34" charset="0"/>
              </a:rPr>
              <a:t>M’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3203BE1-D215-4008-449A-227E6EE39E66}"/>
              </a:ext>
            </a:extLst>
          </p:cNvPr>
          <p:cNvSpPr txBox="1"/>
          <p:nvPr/>
        </p:nvSpPr>
        <p:spPr>
          <a:xfrm>
            <a:off x="375002" y="3619703"/>
            <a:ext cx="444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SE" dirty="0">
                <a:latin typeface="Arial" panose="020B0604020202020204" pitchFamily="34" charset="0"/>
                <a:cs typeface="Arial" panose="020B0604020202020204" pitchFamily="34" charset="0"/>
              </a:rPr>
              <a:t>M’</a:t>
            </a: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908E7132-39C9-0460-D2E1-E5142940ECD5}"/>
              </a:ext>
            </a:extLst>
          </p:cNvPr>
          <p:cNvSpPr/>
          <p:nvPr/>
        </p:nvSpPr>
        <p:spPr>
          <a:xfrm>
            <a:off x="7871523" y="1673009"/>
            <a:ext cx="372255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7DE186-046D-27BC-9471-E848BCC409B0}"/>
              </a:ext>
            </a:extLst>
          </p:cNvPr>
          <p:cNvSpPr txBox="1"/>
          <p:nvPr/>
        </p:nvSpPr>
        <p:spPr>
          <a:xfrm>
            <a:off x="7859156" y="1343604"/>
            <a:ext cx="444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SE" dirty="0">
                <a:latin typeface="Arial" panose="020B0604020202020204" pitchFamily="34" charset="0"/>
                <a:cs typeface="Arial" panose="020B0604020202020204" pitchFamily="34" charset="0"/>
              </a:rPr>
              <a:t>M’</a:t>
            </a:r>
          </a:p>
        </p:txBody>
      </p:sp>
    </p:spTree>
    <p:extLst>
      <p:ext uri="{BB962C8B-B14F-4D97-AF65-F5344CB8AC3E}">
        <p14:creationId xmlns:p14="http://schemas.microsoft.com/office/powerpoint/2010/main" val="37825492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7BE8F-49B2-1947-B429-C72378F62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-cas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8D176C-7211-2245-9D0F-A3575A8609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User progression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15BB856-97DD-66B2-131C-912CB5C0CF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4037318"/>
              </p:ext>
            </p:extLst>
          </p:nvPr>
        </p:nvGraphicFramePr>
        <p:xfrm>
          <a:off x="2117271" y="1038455"/>
          <a:ext cx="4909457" cy="35652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113485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e cont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/>
              <a:t>ID only</a:t>
            </a:r>
          </a:p>
          <a:p>
            <a:pPr lvl="0"/>
            <a:r>
              <a:rPr lang="en-US" dirty="0"/>
              <a:t>Partial objects</a:t>
            </a:r>
          </a:p>
          <a:p>
            <a:pPr lvl="0"/>
            <a:r>
              <a:rPr lang="en-US" dirty="0"/>
              <a:t>Complete objects</a:t>
            </a:r>
          </a:p>
          <a:p>
            <a:pPr lvl="1"/>
            <a:r>
              <a:rPr lang="en-US" dirty="0"/>
              <a:t>Size?</a:t>
            </a:r>
          </a:p>
          <a:p>
            <a:r>
              <a:rPr lang="en-US" dirty="0"/>
              <a:t>Meta data</a:t>
            </a:r>
          </a:p>
          <a:p>
            <a:r>
              <a:rPr lang="en-US" dirty="0"/>
              <a:t>Event format</a:t>
            </a:r>
          </a:p>
        </p:txBody>
      </p:sp>
    </p:spTree>
    <p:extLst>
      <p:ext uri="{BB962C8B-B14F-4D97-AF65-F5344CB8AC3E}">
        <p14:creationId xmlns:p14="http://schemas.microsoft.com/office/powerpoint/2010/main" val="1318376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e cont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95300" y="1195252"/>
            <a:ext cx="4076700" cy="391380"/>
          </a:xfrm>
        </p:spPr>
        <p:txBody>
          <a:bodyPr/>
          <a:lstStyle/>
          <a:p>
            <a:pPr lvl="0"/>
            <a:r>
              <a:rPr lang="en-US" dirty="0">
                <a:hlinkClick r:id="rId3"/>
              </a:rPr>
              <a:t>https://</a:t>
            </a:r>
            <a:r>
              <a:rPr lang="en-US" dirty="0" err="1">
                <a:hlinkClick r:id="rId3"/>
              </a:rPr>
              <a:t>cloudevents.io</a:t>
            </a:r>
            <a:r>
              <a:rPr lang="en-US" dirty="0">
                <a:hlinkClick r:id="rId3"/>
              </a:rPr>
              <a:t>/</a:t>
            </a:r>
            <a:endParaRPr lang="en-US" dirty="0"/>
          </a:p>
          <a:p>
            <a:pPr lvl="2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Examp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2BF53E-3DA3-E979-0C98-ED6A17281055}"/>
              </a:ext>
            </a:extLst>
          </p:cNvPr>
          <p:cNvSpPr txBox="1"/>
          <p:nvPr/>
        </p:nvSpPr>
        <p:spPr>
          <a:xfrm>
            <a:off x="4169227" y="1195252"/>
            <a:ext cx="4441372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{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 "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cloudEventsVersion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": "0.1",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 "source": "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qlik.com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/licenses",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 "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contentType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": "application/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json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",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 "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eventID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": ”event123",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 "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eventTime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": "2018-10-30T07:06:22Z",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 "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eventType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": "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com.qlik.license.definition.updated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",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 "extensions": {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   "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tenantID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": ”tenant123",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   "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userID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": ”user123"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 },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 "data": {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   "license": "license123"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  }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}</a:t>
            </a:r>
          </a:p>
          <a:p>
            <a:pPr algn="l"/>
            <a:endParaRPr lang="en-SE" dirty="0" err="1">
              <a:latin typeface="Fira Code" pitchFamily="49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17884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 specific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95300" y="1195252"/>
            <a:ext cx="4076700" cy="391380"/>
          </a:xfrm>
        </p:spPr>
        <p:txBody>
          <a:bodyPr/>
          <a:lstStyle/>
          <a:p>
            <a:pPr lvl="0"/>
            <a:r>
              <a:rPr lang="en-US" dirty="0">
                <a:hlinkClick r:id="rId3"/>
              </a:rPr>
              <a:t>https://www.asyncapi.com</a:t>
            </a:r>
            <a:endParaRPr lang="en-US" dirty="0"/>
          </a:p>
          <a:p>
            <a:pPr lvl="2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AsyncAPI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2BF53E-3DA3-E979-0C98-ED6A17281055}"/>
              </a:ext>
            </a:extLst>
          </p:cNvPr>
          <p:cNvSpPr txBox="1"/>
          <p:nvPr/>
        </p:nvSpPr>
        <p:spPr>
          <a:xfrm>
            <a:off x="4169227" y="1195252"/>
            <a:ext cx="4691744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definitionExtensions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: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  type: object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  description: Additional event metadata.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  required: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    - 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tenantID</a:t>
            </a:r>
            <a:endParaRPr lang="en-GB" sz="1400" dirty="0">
              <a:latin typeface="Fira Code" pitchFamily="49" charset="0"/>
              <a:cs typeface="Arial" panose="020B0604020202020204" pitchFamily="34" charset="0"/>
            </a:endParaRP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properties: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  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tenantID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: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    type: string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    example: id123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    description: Unique identifier of the tenant related to the event.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  </a:t>
            </a:r>
            <a:r>
              <a:rPr lang="en-GB" sz="1400" dirty="0" err="1">
                <a:latin typeface="Fira Code" pitchFamily="49" charset="0"/>
                <a:cs typeface="Arial" panose="020B0604020202020204" pitchFamily="34" charset="0"/>
              </a:rPr>
              <a:t>userID</a:t>
            </a:r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: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    type: string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    example: id123</a:t>
            </a:r>
          </a:p>
          <a:p>
            <a:pPr algn="l"/>
            <a:r>
              <a:rPr lang="en-GB" sz="1400" dirty="0">
                <a:latin typeface="Fira Code" pitchFamily="49" charset="0"/>
                <a:cs typeface="Arial" panose="020B0604020202020204" pitchFamily="34" charset="0"/>
              </a:rPr>
              <a:t>    description: Unique identifier of the user related to the event.</a:t>
            </a:r>
          </a:p>
          <a:p>
            <a:pPr algn="l"/>
            <a:endParaRPr lang="en-SE" dirty="0" err="1">
              <a:latin typeface="Fira Code" pitchFamily="49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0854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/>
              <a:t>Detection and recovery</a:t>
            </a:r>
          </a:p>
          <a:p>
            <a:pPr lvl="0"/>
            <a:r>
              <a:rPr lang="en-US" dirty="0"/>
              <a:t>Events to signal state change</a:t>
            </a:r>
          </a:p>
          <a:p>
            <a:pPr lvl="0"/>
            <a:r>
              <a:rPr lang="en-US" dirty="0"/>
              <a:t>Rome wasn’t built in a day</a:t>
            </a:r>
          </a:p>
        </p:txBody>
      </p:sp>
    </p:spTree>
    <p:extLst>
      <p:ext uri="{BB962C8B-B14F-4D97-AF65-F5344CB8AC3E}">
        <p14:creationId xmlns:p14="http://schemas.microsoft.com/office/powerpoint/2010/main" val="326646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cs typeface="Calibri"/>
                <a:hlinkClick r:id="rId3"/>
              </a:rPr>
              <a:t>Event-driven architecture</a:t>
            </a:r>
            <a:endParaRPr lang="en-US" dirty="0">
              <a:cs typeface="Calibri"/>
            </a:endParaRPr>
          </a:p>
          <a:p>
            <a:r>
              <a:rPr lang="en-US" dirty="0">
                <a:cs typeface="Calibri"/>
                <a:hlinkClick r:id="rId4"/>
              </a:rPr>
              <a:t>NATS</a:t>
            </a:r>
          </a:p>
          <a:p>
            <a:r>
              <a:rPr lang="en-US" dirty="0">
                <a:cs typeface="Calibri"/>
                <a:hlinkClick r:id="rId5"/>
              </a:rPr>
              <a:t>Solace</a:t>
            </a:r>
          </a:p>
          <a:p>
            <a:r>
              <a:rPr lang="en-US" dirty="0">
                <a:cs typeface="Calibri"/>
                <a:hlinkClick r:id="rId6"/>
              </a:rPr>
              <a:t>Cloudevents</a:t>
            </a:r>
            <a:endParaRPr lang="en-US" dirty="0">
              <a:cs typeface="Calibri"/>
            </a:endParaRPr>
          </a:p>
          <a:p>
            <a:r>
              <a:rPr lang="en-US" dirty="0">
                <a:cs typeface="Calibri"/>
                <a:hlinkClick r:id="rId7"/>
              </a:rPr>
              <a:t>AsyncAPI</a:t>
            </a:r>
            <a:endParaRPr lang="en-US" dirty="0">
              <a:cs typeface="Calibri"/>
            </a:endParaRP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30389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2133" y="3537857"/>
            <a:ext cx="5539733" cy="1382486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rs.helmer@qlik.com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.com/larshelmer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 err="1">
                <a:solidFill>
                  <a:schemeClr val="bg1"/>
                </a:solidFill>
              </a:rPr>
              <a:t>www.linkedin.com</a:t>
            </a:r>
            <a:r>
              <a:rPr lang="en-US" dirty="0">
                <a:solidFill>
                  <a:schemeClr val="bg1"/>
                </a:solidFill>
              </a:rPr>
              <a:t>/in/</a:t>
            </a:r>
            <a:r>
              <a:rPr lang="en-US" dirty="0" err="1">
                <a:solidFill>
                  <a:schemeClr val="bg1"/>
                </a:solidFill>
              </a:rPr>
              <a:t>larshelmer</a:t>
            </a:r>
            <a:r>
              <a:rPr lang="en-US" dirty="0">
                <a:solidFill>
                  <a:schemeClr val="bg1"/>
                </a:solidFill>
              </a:rPr>
              <a:t>/</a:t>
            </a:r>
          </a:p>
          <a:p>
            <a:r>
              <a:rPr lang="en-US" dirty="0">
                <a:solidFill>
                  <a:schemeClr val="bg1"/>
                </a:solidFill>
              </a:rPr>
              <a:t>@</a:t>
            </a:r>
            <a:r>
              <a:rPr lang="en-US" dirty="0" err="1">
                <a:solidFill>
                  <a:schemeClr val="bg1"/>
                </a:solidFill>
              </a:rPr>
              <a:t>ingefaera</a:t>
            </a:r>
            <a:endParaRPr lang="en-US" dirty="0">
              <a:solidFill>
                <a:schemeClr val="bg1"/>
              </a:solidFill>
            </a:endParaRP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5197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3B025EC-487E-B305-565B-B565433CB4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essaging basic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90420A3-DA59-C7F1-4F25-F5AE4D0CD7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vent-driven archite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E42B34-2031-5E40-6AFA-C57AD03287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xample use cas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28FD74-C625-0127-D5C8-0181BFA9EA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tandard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2403AD-FAF1-5171-754A-D57A21E15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061739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ing bas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95300" y="1195251"/>
            <a:ext cx="8115299" cy="929313"/>
          </a:xfrm>
        </p:spPr>
        <p:txBody>
          <a:bodyPr/>
          <a:lstStyle/>
          <a:p>
            <a:pPr lvl="0"/>
            <a:r>
              <a:rPr lang="en-US" dirty="0"/>
              <a:t>Messages from producer to consumer(s)</a:t>
            </a:r>
          </a:p>
          <a:p>
            <a:pPr lvl="0"/>
            <a:r>
              <a:rPr lang="en-US" dirty="0"/>
              <a:t>Broker as “middleware”</a:t>
            </a:r>
          </a:p>
          <a:p>
            <a:pPr lvl="2"/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97FCE58-6990-2C02-C9A9-9986DADF816E}"/>
              </a:ext>
            </a:extLst>
          </p:cNvPr>
          <p:cNvSpPr/>
          <p:nvPr/>
        </p:nvSpPr>
        <p:spPr>
          <a:xfrm>
            <a:off x="1934933" y="2796249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Producer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747C55D-27F5-15D5-CAE3-B6CECE3728A2}"/>
              </a:ext>
            </a:extLst>
          </p:cNvPr>
          <p:cNvSpPr/>
          <p:nvPr/>
        </p:nvSpPr>
        <p:spPr>
          <a:xfrm>
            <a:off x="5832023" y="2795869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CAFB3EA1-458B-BFAC-2FE3-F67C34E06788}"/>
              </a:ext>
            </a:extLst>
          </p:cNvPr>
          <p:cNvSpPr/>
          <p:nvPr/>
        </p:nvSpPr>
        <p:spPr>
          <a:xfrm>
            <a:off x="3883478" y="2795869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C0C1D000-6733-409F-1701-5741F5324C2F}"/>
              </a:ext>
            </a:extLst>
          </p:cNvPr>
          <p:cNvSpPr/>
          <p:nvPr/>
        </p:nvSpPr>
        <p:spPr>
          <a:xfrm>
            <a:off x="3418112" y="3018935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B241A1ED-CA22-5B8A-2C5E-2A9F709DC93F}"/>
              </a:ext>
            </a:extLst>
          </p:cNvPr>
          <p:cNvSpPr/>
          <p:nvPr/>
        </p:nvSpPr>
        <p:spPr>
          <a:xfrm>
            <a:off x="5366657" y="3018935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741878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95299" y="1197854"/>
            <a:ext cx="6244125" cy="944773"/>
          </a:xfrm>
        </p:spPr>
        <p:txBody>
          <a:bodyPr/>
          <a:lstStyle/>
          <a:p>
            <a:pPr lvl="0"/>
            <a:r>
              <a:rPr lang="en-US" dirty="0"/>
              <a:t>Messages can be processed by multiple consumers</a:t>
            </a:r>
          </a:p>
          <a:p>
            <a:pPr lvl="0"/>
            <a:r>
              <a:rPr lang="en-US" dirty="0"/>
              <a:t>Each consumer gets its own copy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ing pattern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ublish / subscrib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D78BE2B-C4A9-FCCD-6C45-CA5DD29B0737}"/>
              </a:ext>
            </a:extLst>
          </p:cNvPr>
          <p:cNvSpPr/>
          <p:nvPr/>
        </p:nvSpPr>
        <p:spPr>
          <a:xfrm>
            <a:off x="3336465" y="2953323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Produc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32D83F3-5186-803D-3A2F-05017FC1D11C}"/>
              </a:ext>
            </a:extLst>
          </p:cNvPr>
          <p:cNvSpPr/>
          <p:nvPr/>
        </p:nvSpPr>
        <p:spPr>
          <a:xfrm>
            <a:off x="7233555" y="2216705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  <p:sp>
        <p:nvSpPr>
          <p:cNvPr id="14" name="Chevron 13">
            <a:extLst>
              <a:ext uri="{FF2B5EF4-FFF2-40B4-BE49-F238E27FC236}">
                <a16:creationId xmlns:a16="http://schemas.microsoft.com/office/drawing/2014/main" id="{67C3DDA0-F0BE-11CB-F2FD-841E6F628BAC}"/>
              </a:ext>
            </a:extLst>
          </p:cNvPr>
          <p:cNvSpPr/>
          <p:nvPr/>
        </p:nvSpPr>
        <p:spPr>
          <a:xfrm>
            <a:off x="5285010" y="2952943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E8D81CF5-103E-8094-1F12-7AB214E72F2A}"/>
              </a:ext>
            </a:extLst>
          </p:cNvPr>
          <p:cNvSpPr/>
          <p:nvPr/>
        </p:nvSpPr>
        <p:spPr>
          <a:xfrm>
            <a:off x="4819644" y="3176009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5EE2ABD3-81F6-ADF9-67CD-9B4C53A89B29}"/>
              </a:ext>
            </a:extLst>
          </p:cNvPr>
          <p:cNvSpPr/>
          <p:nvPr/>
        </p:nvSpPr>
        <p:spPr>
          <a:xfrm>
            <a:off x="6768189" y="3176009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0397A36-58C2-8391-F65E-BC5DC26E7E83}"/>
              </a:ext>
            </a:extLst>
          </p:cNvPr>
          <p:cNvSpPr/>
          <p:nvPr/>
        </p:nvSpPr>
        <p:spPr>
          <a:xfrm>
            <a:off x="7233555" y="2952943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BD863A1-8530-87D5-FC56-E3A2F9D50230}"/>
              </a:ext>
            </a:extLst>
          </p:cNvPr>
          <p:cNvSpPr/>
          <p:nvPr/>
        </p:nvSpPr>
        <p:spPr>
          <a:xfrm>
            <a:off x="7233555" y="3689181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4C869B24-CE73-601F-3680-8DFD2B746AAC}"/>
              </a:ext>
            </a:extLst>
          </p:cNvPr>
          <p:cNvSpPr/>
          <p:nvPr/>
        </p:nvSpPr>
        <p:spPr>
          <a:xfrm rot="19317174">
            <a:off x="6687162" y="2766148"/>
            <a:ext cx="372255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E9D8F462-6FB7-F008-F858-331B762464F2}"/>
              </a:ext>
            </a:extLst>
          </p:cNvPr>
          <p:cNvSpPr/>
          <p:nvPr/>
        </p:nvSpPr>
        <p:spPr>
          <a:xfrm rot="2324890">
            <a:off x="6687802" y="3654467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857559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95299" y="1197854"/>
            <a:ext cx="6244125" cy="944773"/>
          </a:xfrm>
        </p:spPr>
        <p:txBody>
          <a:bodyPr/>
          <a:lstStyle/>
          <a:p>
            <a:pPr lvl="0"/>
            <a:r>
              <a:rPr lang="en-US" dirty="0"/>
              <a:t>Messages is processed by a single consumer</a:t>
            </a:r>
          </a:p>
          <a:p>
            <a:pPr lvl="0"/>
            <a:r>
              <a:rPr lang="en-US" dirty="0"/>
              <a:t>Consumer groups for multiple instances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ing pattern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oint-to-poin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D78BE2B-C4A9-FCCD-6C45-CA5DD29B0737}"/>
              </a:ext>
            </a:extLst>
          </p:cNvPr>
          <p:cNvSpPr/>
          <p:nvPr/>
        </p:nvSpPr>
        <p:spPr>
          <a:xfrm>
            <a:off x="3336465" y="2953323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Producer</a:t>
            </a:r>
          </a:p>
        </p:txBody>
      </p:sp>
      <p:sp>
        <p:nvSpPr>
          <p:cNvPr id="14" name="Chevron 13">
            <a:extLst>
              <a:ext uri="{FF2B5EF4-FFF2-40B4-BE49-F238E27FC236}">
                <a16:creationId xmlns:a16="http://schemas.microsoft.com/office/drawing/2014/main" id="{67C3DDA0-F0BE-11CB-F2FD-841E6F628BAC}"/>
              </a:ext>
            </a:extLst>
          </p:cNvPr>
          <p:cNvSpPr/>
          <p:nvPr/>
        </p:nvSpPr>
        <p:spPr>
          <a:xfrm>
            <a:off x="5285010" y="2952943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E8D81CF5-103E-8094-1F12-7AB214E72F2A}"/>
              </a:ext>
            </a:extLst>
          </p:cNvPr>
          <p:cNvSpPr/>
          <p:nvPr/>
        </p:nvSpPr>
        <p:spPr>
          <a:xfrm>
            <a:off x="4819644" y="3176009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5EE2ABD3-81F6-ADF9-67CD-9B4C53A89B29}"/>
              </a:ext>
            </a:extLst>
          </p:cNvPr>
          <p:cNvSpPr/>
          <p:nvPr/>
        </p:nvSpPr>
        <p:spPr>
          <a:xfrm>
            <a:off x="6768189" y="3176009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0397A36-58C2-8391-F65E-BC5DC26E7E83}"/>
              </a:ext>
            </a:extLst>
          </p:cNvPr>
          <p:cNvSpPr/>
          <p:nvPr/>
        </p:nvSpPr>
        <p:spPr>
          <a:xfrm>
            <a:off x="7233555" y="2952943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</p:spTree>
    <p:extLst>
      <p:ext uri="{BB962C8B-B14F-4D97-AF65-F5344CB8AC3E}">
        <p14:creationId xmlns:p14="http://schemas.microsoft.com/office/powerpoint/2010/main" val="2063712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>
            <a:extLst>
              <a:ext uri="{FF2B5EF4-FFF2-40B4-BE49-F238E27FC236}">
                <a16:creationId xmlns:a16="http://schemas.microsoft.com/office/drawing/2014/main" id="{C0397A36-58C2-8391-F65E-BC5DC26E7E83}"/>
              </a:ext>
            </a:extLst>
          </p:cNvPr>
          <p:cNvSpPr/>
          <p:nvPr/>
        </p:nvSpPr>
        <p:spPr>
          <a:xfrm>
            <a:off x="7323507" y="2581168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 sz="1300" dirty="0">
              <a:solidFill>
                <a:sysClr val="windowText" lastClr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4294" y="864518"/>
            <a:ext cx="6244125" cy="944773"/>
          </a:xfrm>
        </p:spPr>
        <p:txBody>
          <a:bodyPr/>
          <a:lstStyle/>
          <a:p>
            <a:pPr lvl="0"/>
            <a:r>
              <a:rPr lang="en-US" dirty="0"/>
              <a:t>Classifying messages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ic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D78BE2B-C4A9-FCCD-6C45-CA5DD29B0737}"/>
              </a:ext>
            </a:extLst>
          </p:cNvPr>
          <p:cNvSpPr/>
          <p:nvPr/>
        </p:nvSpPr>
        <p:spPr>
          <a:xfrm>
            <a:off x="3336465" y="2953323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Produc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32D83F3-5186-803D-3A2F-05017FC1D11C}"/>
              </a:ext>
            </a:extLst>
          </p:cNvPr>
          <p:cNvSpPr/>
          <p:nvPr/>
        </p:nvSpPr>
        <p:spPr>
          <a:xfrm>
            <a:off x="7233555" y="2420930"/>
            <a:ext cx="1377044" cy="576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  <p:sp>
        <p:nvSpPr>
          <p:cNvPr id="14" name="Chevron 13">
            <a:extLst>
              <a:ext uri="{FF2B5EF4-FFF2-40B4-BE49-F238E27FC236}">
                <a16:creationId xmlns:a16="http://schemas.microsoft.com/office/drawing/2014/main" id="{67C3DDA0-F0BE-11CB-F2FD-841E6F628BAC}"/>
              </a:ext>
            </a:extLst>
          </p:cNvPr>
          <p:cNvSpPr/>
          <p:nvPr/>
        </p:nvSpPr>
        <p:spPr>
          <a:xfrm>
            <a:off x="5285010" y="2952943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E8D81CF5-103E-8094-1F12-7AB214E72F2A}"/>
              </a:ext>
            </a:extLst>
          </p:cNvPr>
          <p:cNvSpPr/>
          <p:nvPr/>
        </p:nvSpPr>
        <p:spPr>
          <a:xfrm>
            <a:off x="4819644" y="3176009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BD863A1-8530-87D5-FC56-E3A2F9D50230}"/>
              </a:ext>
            </a:extLst>
          </p:cNvPr>
          <p:cNvSpPr/>
          <p:nvPr/>
        </p:nvSpPr>
        <p:spPr>
          <a:xfrm>
            <a:off x="7233555" y="3317406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4C869B24-CE73-601F-3680-8DFD2B746AAC}"/>
              </a:ext>
            </a:extLst>
          </p:cNvPr>
          <p:cNvSpPr/>
          <p:nvPr/>
        </p:nvSpPr>
        <p:spPr>
          <a:xfrm rot="20050370">
            <a:off x="6687160" y="2888008"/>
            <a:ext cx="372255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E9D8F462-6FB7-F008-F858-331B762464F2}"/>
              </a:ext>
            </a:extLst>
          </p:cNvPr>
          <p:cNvSpPr/>
          <p:nvPr/>
        </p:nvSpPr>
        <p:spPr>
          <a:xfrm rot="1446236">
            <a:off x="6697550" y="3420701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82B428-350D-BE1B-1BA8-9797B2165EC3}"/>
              </a:ext>
            </a:extLst>
          </p:cNvPr>
          <p:cNvSpPr txBox="1"/>
          <p:nvPr/>
        </p:nvSpPr>
        <p:spPr>
          <a:xfrm>
            <a:off x="6588853" y="2645514"/>
            <a:ext cx="3916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SE" sz="1200" dirty="0">
                <a:latin typeface="Arial" panose="020B0604020202020204" pitchFamily="34" charset="0"/>
                <a:cs typeface="Arial" panose="020B0604020202020204" pitchFamily="34" charset="0"/>
              </a:rPr>
              <a:t>T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C4A1B9-379C-5965-4DD7-19D24B2B3991}"/>
              </a:ext>
            </a:extLst>
          </p:cNvPr>
          <p:cNvSpPr txBox="1"/>
          <p:nvPr/>
        </p:nvSpPr>
        <p:spPr>
          <a:xfrm>
            <a:off x="6588853" y="3616407"/>
            <a:ext cx="3916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SE" sz="1200" dirty="0">
                <a:latin typeface="Arial" panose="020B0604020202020204" pitchFamily="34" charset="0"/>
                <a:cs typeface="Arial" panose="020B0604020202020204" pitchFamily="34" charset="0"/>
              </a:rPr>
              <a:t>T2</a:t>
            </a:r>
          </a:p>
        </p:txBody>
      </p:sp>
    </p:spTree>
    <p:extLst>
      <p:ext uri="{BB962C8B-B14F-4D97-AF65-F5344CB8AC3E}">
        <p14:creationId xmlns:p14="http://schemas.microsoft.com/office/powerpoint/2010/main" val="35916017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ivery mod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/>
              <a:t>Direct</a:t>
            </a:r>
          </a:p>
          <a:p>
            <a:pPr lvl="1"/>
            <a:r>
              <a:rPr lang="en-US" dirty="0"/>
              <a:t>At most once</a:t>
            </a:r>
          </a:p>
          <a:p>
            <a:pPr lvl="1"/>
            <a:r>
              <a:rPr lang="en-US" dirty="0"/>
              <a:t>Non-persist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en-US" dirty="0"/>
              <a:t>Guaranteed</a:t>
            </a:r>
          </a:p>
          <a:p>
            <a:pPr lvl="1"/>
            <a:r>
              <a:rPr lang="en-US" dirty="0"/>
              <a:t>At least once</a:t>
            </a:r>
          </a:p>
          <a:p>
            <a:pPr lvl="1"/>
            <a:r>
              <a:rPr lang="en-US" dirty="0"/>
              <a:t>Persisted</a:t>
            </a:r>
          </a:p>
        </p:txBody>
      </p:sp>
    </p:spTree>
    <p:extLst>
      <p:ext uri="{BB962C8B-B14F-4D97-AF65-F5344CB8AC3E}">
        <p14:creationId xmlns:p14="http://schemas.microsoft.com/office/powerpoint/2010/main" val="612704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7BE8F-49B2-1947-B429-C72378F62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ivery mod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8D176C-7211-2245-9D0F-A3575A8609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irect – at most onc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96131FE-25B4-7B33-6B80-582A4C1191C7}"/>
              </a:ext>
            </a:extLst>
          </p:cNvPr>
          <p:cNvSpPr/>
          <p:nvPr/>
        </p:nvSpPr>
        <p:spPr>
          <a:xfrm>
            <a:off x="1934933" y="2284130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Producer</a:t>
            </a:r>
          </a:p>
        </p:txBody>
      </p:sp>
      <p:sp>
        <p:nvSpPr>
          <p:cNvPr id="6" name="Chevron 5">
            <a:extLst>
              <a:ext uri="{FF2B5EF4-FFF2-40B4-BE49-F238E27FC236}">
                <a16:creationId xmlns:a16="http://schemas.microsoft.com/office/drawing/2014/main" id="{4BA871B5-B4DB-5510-ECB2-77B87DA804D6}"/>
              </a:ext>
            </a:extLst>
          </p:cNvPr>
          <p:cNvSpPr/>
          <p:nvPr/>
        </p:nvSpPr>
        <p:spPr>
          <a:xfrm>
            <a:off x="3883478" y="2283750"/>
            <a:ext cx="1377044" cy="576000"/>
          </a:xfrm>
          <a:prstGeom prst="chevron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Broker</a:t>
            </a:r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91F864E8-0371-6928-AD5F-536491A3C07A}"/>
              </a:ext>
            </a:extLst>
          </p:cNvPr>
          <p:cNvSpPr/>
          <p:nvPr/>
        </p:nvSpPr>
        <p:spPr>
          <a:xfrm>
            <a:off x="3418112" y="2506816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722F5453-5FF2-4B98-80B2-9C65C80C202E}"/>
              </a:ext>
            </a:extLst>
          </p:cNvPr>
          <p:cNvSpPr/>
          <p:nvPr/>
        </p:nvSpPr>
        <p:spPr>
          <a:xfrm>
            <a:off x="5366657" y="2506816"/>
            <a:ext cx="359231" cy="1298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E44D517-C19C-B8CD-47AE-3131D3C8EC03}"/>
              </a:ext>
            </a:extLst>
          </p:cNvPr>
          <p:cNvSpPr/>
          <p:nvPr/>
        </p:nvSpPr>
        <p:spPr>
          <a:xfrm>
            <a:off x="5921975" y="2443988"/>
            <a:ext cx="1377044" cy="576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E" sz="1300" dirty="0">
              <a:solidFill>
                <a:sysClr val="windowText" lastClr="000000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543E41B-C666-D476-95C9-399B5472EBC2}"/>
              </a:ext>
            </a:extLst>
          </p:cNvPr>
          <p:cNvSpPr/>
          <p:nvPr/>
        </p:nvSpPr>
        <p:spPr>
          <a:xfrm>
            <a:off x="5832023" y="2283750"/>
            <a:ext cx="1377044" cy="576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SE" sz="1300" dirty="0">
                <a:solidFill>
                  <a:sysClr val="windowText" lastClr="000000"/>
                </a:solidFill>
              </a:rPr>
              <a:t>Consumer</a:t>
            </a:r>
          </a:p>
        </p:txBody>
      </p:sp>
    </p:spTree>
    <p:extLst>
      <p:ext uri="{BB962C8B-B14F-4D97-AF65-F5344CB8AC3E}">
        <p14:creationId xmlns:p14="http://schemas.microsoft.com/office/powerpoint/2010/main" val="1683691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likCorp Deck 2022">
  <a:themeElements>
    <a:clrScheme name="Custom 11">
      <a:dk1>
        <a:srgbClr val="545659"/>
      </a:dk1>
      <a:lt1>
        <a:srgbClr val="FFFFFF"/>
      </a:lt1>
      <a:dk2>
        <a:srgbClr val="244B59"/>
      </a:dk2>
      <a:lt2>
        <a:srgbClr val="1C345E"/>
      </a:lt2>
      <a:accent1>
        <a:srgbClr val="006580"/>
      </a:accent1>
      <a:accent2>
        <a:srgbClr val="870064"/>
      </a:accent2>
      <a:accent3>
        <a:srgbClr val="005CB9"/>
      </a:accent3>
      <a:accent4>
        <a:srgbClr val="156838"/>
      </a:accent4>
      <a:accent5>
        <a:srgbClr val="009845"/>
      </a:accent5>
      <a:accent6>
        <a:srgbClr val="655DC6"/>
      </a:accent6>
      <a:hlink>
        <a:srgbClr val="274B5A"/>
      </a:hlink>
      <a:folHlink>
        <a:srgbClr val="18678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lik_PPT_Template2022-ExampleSlides" id="{1B014B94-40A2-2B46-8255-A47918EB8F21}" vid="{CA0037D0-1E2C-854B-A17B-4B3AD36FCD4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089B8DEDC3494681B7757186612628" ma:contentTypeVersion="8" ma:contentTypeDescription="Create a new document." ma:contentTypeScope="" ma:versionID="0b8d75ec5b7fd64ebf04e5871be31e71">
  <xsd:schema xmlns:xsd="http://www.w3.org/2001/XMLSchema" xmlns:xs="http://www.w3.org/2001/XMLSchema" xmlns:p="http://schemas.microsoft.com/office/2006/metadata/properties" xmlns:ns1="http://schemas.microsoft.com/sharepoint/v3" xmlns:ns2="ab38aeff-e689-4a89-af73-0775c20858b7" xmlns:ns3="6bd0678d-6361-4091-9f1d-3fd05c52277e" targetNamespace="http://schemas.microsoft.com/office/2006/metadata/properties" ma:root="true" ma:fieldsID="0d00b0293defc173766900647c7d574d" ns1:_="" ns2:_="" ns3:_="">
    <xsd:import namespace="http://schemas.microsoft.com/sharepoint/v3"/>
    <xsd:import namespace="ab38aeff-e689-4a89-af73-0775c20858b7"/>
    <xsd:import namespace="6bd0678d-6361-4091-9f1d-3fd05c52277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1:_ip_UnifiedCompliancePolicyProperties" minOccurs="0"/>
                <xsd:element ref="ns1:_ip_UnifiedCompliancePolicyUIAction" minOccurs="0"/>
                <xsd:element ref="ns3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3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4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38aeff-e689-4a89-af73-0775c20858b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d0678d-6361-4091-9f1d-3fd05c5227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4B0AB49-E6C5-47A1-A4CB-828A2B1C06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b38aeff-e689-4a89-af73-0775c20858b7"/>
    <ds:schemaRef ds:uri="6bd0678d-6361-4091-9f1d-3fd05c522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BBB4165-F74F-4BC2-A7AB-DD491152EB4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B3E2E52-8F9A-4B59-861F-C1303513C176}">
  <ds:schemaRefs>
    <ds:schemaRef ds:uri="http://purl.org/dc/elements/1.1/"/>
    <ds:schemaRef ds:uri="http://schemas.microsoft.com/office/2006/documentManagement/types"/>
    <ds:schemaRef ds:uri="ab38aeff-e689-4a89-af73-0775c20858b7"/>
    <ds:schemaRef ds:uri="http://purl.org/dc/dcmitype/"/>
    <ds:schemaRef ds:uri="6bd0678d-6361-4091-9f1d-3fd05c52277e"/>
    <ds:schemaRef ds:uri="http://schemas.microsoft.com/sharepoint/v3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53</TotalTime>
  <Words>1187</Words>
  <Application>Microsoft Macintosh PowerPoint</Application>
  <PresentationFormat>On-screen Show (16:9)</PresentationFormat>
  <Paragraphs>319</Paragraphs>
  <Slides>27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Arial</vt:lpstr>
      <vt:lpstr>Calibri</vt:lpstr>
      <vt:lpstr>Fira Code</vt:lpstr>
      <vt:lpstr>Helvetica</vt:lpstr>
      <vt:lpstr>System Font Regular</vt:lpstr>
      <vt:lpstr>QlikCorp Deck 2022</vt:lpstr>
      <vt:lpstr>think-cell Slide</vt:lpstr>
      <vt:lpstr>Event-driven architecture</vt:lpstr>
      <vt:lpstr>Marketing</vt:lpstr>
      <vt:lpstr>Agenda</vt:lpstr>
      <vt:lpstr>Messaging basics</vt:lpstr>
      <vt:lpstr>Messaging patterns</vt:lpstr>
      <vt:lpstr>Messaging patterns</vt:lpstr>
      <vt:lpstr>Topics</vt:lpstr>
      <vt:lpstr>Delivery modes</vt:lpstr>
      <vt:lpstr>Delivery modes</vt:lpstr>
      <vt:lpstr>Delivery modes</vt:lpstr>
      <vt:lpstr>Delivery modes</vt:lpstr>
      <vt:lpstr>Guarantees?</vt:lpstr>
      <vt:lpstr>Lost messages</vt:lpstr>
      <vt:lpstr>Qlik’s cloud platform</vt:lpstr>
      <vt:lpstr>Event-driven architecture</vt:lpstr>
      <vt:lpstr>Event-driven architecture</vt:lpstr>
      <vt:lpstr>Event-driven architecture</vt:lpstr>
      <vt:lpstr>Event-driven architecture</vt:lpstr>
      <vt:lpstr>Use-cases</vt:lpstr>
      <vt:lpstr>Use-cases</vt:lpstr>
      <vt:lpstr>Use-cases</vt:lpstr>
      <vt:lpstr>Message content</vt:lpstr>
      <vt:lpstr>Message content</vt:lpstr>
      <vt:lpstr>Event specification</vt:lpstr>
      <vt:lpstr>Summary</vt:lpstr>
      <vt:lpstr>Reference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 cover slide option with three lines for a long title</dc:title>
  <dc:subject/>
  <dc:creator>Nicole Boyd</dc:creator>
  <cp:keywords/>
  <dc:description/>
  <cp:lastModifiedBy>Lars Helmer</cp:lastModifiedBy>
  <cp:revision>62</cp:revision>
  <cp:lastPrinted>2018-08-31T00:12:57Z</cp:lastPrinted>
  <dcterms:created xsi:type="dcterms:W3CDTF">2018-09-11T15:26:17Z</dcterms:created>
  <dcterms:modified xsi:type="dcterms:W3CDTF">2023-02-27T20:04:5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oject">
    <vt:lpwstr>IBDROOT</vt:lpwstr>
  </property>
  <property fmtid="{D5CDD505-2E9C-101B-9397-08002B2CF9AE}" pid="3" name="DocTopsCleaned">
    <vt:lpwstr>True</vt:lpwstr>
  </property>
  <property fmtid="{D5CDD505-2E9C-101B-9397-08002B2CF9AE}" pid="4" name="ShowHideDoctop">
    <vt:lpwstr>False</vt:lpwstr>
  </property>
  <property fmtid="{D5CDD505-2E9C-101B-9397-08002B2CF9AE}" pid="5" name="ContentTypeId">
    <vt:lpwstr>0x010100CB089B8DEDC3494681B7757186612628</vt:lpwstr>
  </property>
</Properties>
</file>